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11" r:id="rId5"/>
  </p:sldMasterIdLst>
  <p:notesMasterIdLst>
    <p:notesMasterId r:id="rId7"/>
  </p:notesMasterIdLst>
  <p:handoutMasterIdLst>
    <p:handoutMasterId r:id="rId8"/>
  </p:handoutMasterIdLst>
  <p:sldIdLst>
    <p:sldId id="2147478971" r:id="rId6"/>
  </p:sldIdLst>
  <p:sldSz cx="11520488" cy="6480175"/>
  <p:notesSz cx="6858000" cy="9144000"/>
  <p:custDataLst>
    <p:tags r:id="rId9"/>
  </p:custDataLst>
  <p:defaultTextStyle>
    <a:defPPr>
      <a:defRPr lang="de-DE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92EE10-1BD4-758C-3821-65845B7B8B99}" name="Anna Hees" initials="AH" userId="S::anna.hees@cofinity-x.com::4f7c700b-1f2d-4d34-9a12-3e4bc16fe375" providerId="AD"/>
  <p188:author id="{8F84E52C-5464-E818-7815-249FDA44FAC4}" name="Werner Roman FRD FIEA" initials="WRFF" userId="S::roman.werner@zf.com::179b31d7-4203-431e-8a87-3306d648d01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600"/>
    <a:srgbClr val="575757"/>
    <a:srgbClr val="D8D8D8"/>
    <a:srgbClr val="979797"/>
    <a:srgbClr val="FBA702"/>
    <a:srgbClr val="E1E3DE"/>
    <a:srgbClr val="F3F6CA"/>
    <a:srgbClr val="737A1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8D540D-41AC-4B40-811F-DBBEDC9F4615}" v="2" dt="2024-04-04T08:53:24.859"/>
    <p1510:client id="{2B3F8A2D-9327-FFA5-441D-48C757D1B3EF}" v="20" dt="2024-04-04T10:55:45.6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797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no Focken" userId="07ddbd8f-7dc8-4c50-855e-1be4be0ab5a1" providerId="ADAL" clId="{19D41F2B-6BA6-114E-B740-D17E1A3D9609}"/>
    <pc:docChg chg="undo custSel addSld delSld modSld">
      <pc:chgData name="Hanno Focken" userId="07ddbd8f-7dc8-4c50-855e-1be4be0ab5a1" providerId="ADAL" clId="{19D41F2B-6BA6-114E-B740-D17E1A3D9609}" dt="2023-09-29T09:03:23.996" v="7" actId="14100"/>
      <pc:docMkLst>
        <pc:docMk/>
      </pc:docMkLst>
      <pc:sldChg chg="add del">
        <pc:chgData name="Hanno Focken" userId="07ddbd8f-7dc8-4c50-855e-1be4be0ab5a1" providerId="ADAL" clId="{19D41F2B-6BA6-114E-B740-D17E1A3D9609}" dt="2023-09-28T06:10:33.988" v="2" actId="2696"/>
        <pc:sldMkLst>
          <pc:docMk/>
          <pc:sldMk cId="2493062518" sldId="332"/>
        </pc:sldMkLst>
      </pc:sldChg>
      <pc:sldChg chg="modSp mod">
        <pc:chgData name="Hanno Focken" userId="07ddbd8f-7dc8-4c50-855e-1be4be0ab5a1" providerId="ADAL" clId="{19D41F2B-6BA6-114E-B740-D17E1A3D9609}" dt="2023-09-29T09:03:23.996" v="7" actId="14100"/>
        <pc:sldMkLst>
          <pc:docMk/>
          <pc:sldMk cId="4150881068" sldId="2147478950"/>
        </pc:sldMkLst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5" creationId="{44760164-D082-494E-52A5-62CF46B4CCD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6" creationId="{5E42BAFD-1232-8134-6859-2E16A354D3F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7" creationId="{EF8AC68E-F784-A489-D43C-8815F66F590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8" creationId="{A98219BD-FCA9-AC92-2E5C-45586DED114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0" creationId="{F2181D46-EB22-B1B8-6926-E65BE670685D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1" creationId="{0095A86F-766D-F2F4-BD84-10D783FD0E0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2" creationId="{B0159A5A-4414-DE81-12DE-D2E2E01C2EB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3" creationId="{536AB374-A5C4-993D-8F8C-63DA102A61C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4" creationId="{2179D842-7BB7-0D6D-BD11-1FD4DA2541F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5" creationId="{A92716DE-D63E-E8A5-C372-AE1950BAD7D8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6" creationId="{6E33FFCF-42BF-1AEB-D162-D8202CC5C47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7" creationId="{AA9E5D1E-2DC3-A303-63E3-B52E59E09D0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8" creationId="{3EDF14C0-CF9D-880D-CFF8-F4F8A534AC0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9" creationId="{6C02E498-B86E-CC90-BCB7-B25D731BF5C0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0" creationId="{12BF4F4C-6F8F-E29B-6A8E-59597A2F64C8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1" creationId="{C40D84AF-2DEB-A7C1-33E9-475B693AE72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2" creationId="{F729C5AF-9FB0-331D-D641-AB613A25779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4" creationId="{E50BC951-7A86-B226-D294-AB8678D253C0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5" creationId="{398A241B-E53E-50A2-5FA1-1DD57059EBA7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6" creationId="{BE377912-B014-C897-AE0D-F50CB7CB810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7" creationId="{DF81693C-19C2-E535-DB01-C89C60C5EFCA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8" creationId="{16F8CAD0-BBC3-B67A-F62A-EF2046C5F1C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0" creationId="{F47B8996-391D-114B-0A61-1F048705CA0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1" creationId="{181347A5-D458-0383-8C54-22015A699DE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7" creationId="{BCF312F9-8E2B-B497-F0A1-7C435DEC0916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8" creationId="{045D8A18-5FFC-8188-BC8F-F60100FE2D8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9" creationId="{7DD4F968-5D14-B467-65FE-18A80506448D}"/>
          </ac:spMkLst>
        </pc:spChg>
        <pc:spChg chg="mod">
          <ac:chgData name="Hanno Focken" userId="07ddbd8f-7dc8-4c50-855e-1be4be0ab5a1" providerId="ADAL" clId="{19D41F2B-6BA6-114E-B740-D17E1A3D9609}" dt="2023-09-29T09:03:23.996" v="7" actId="14100"/>
          <ac:spMkLst>
            <pc:docMk/>
            <pc:sldMk cId="4150881068" sldId="2147478950"/>
            <ac:spMk id="210" creationId="{E68D98DF-5C6C-32FC-99AE-DDA24A2E22D6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1" creationId="{634244C5-F9C5-7A8B-DF5F-701887C50E14}"/>
          </ac:spMkLst>
        </pc:spChg>
        <pc:spChg chg="mod">
          <ac:chgData name="Hanno Focken" userId="07ddbd8f-7dc8-4c50-855e-1be4be0ab5a1" providerId="ADAL" clId="{19D41F2B-6BA6-114E-B740-D17E1A3D9609}" dt="2023-09-29T09:02:49.318" v="6" actId="14100"/>
          <ac:spMkLst>
            <pc:docMk/>
            <pc:sldMk cId="4150881068" sldId="2147478950"/>
            <ac:spMk id="212" creationId="{0DDF00E7-032D-C16B-B94B-804644AD392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5" creationId="{11A97735-4490-75C5-B553-18BE99B1A79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6" creationId="{0B4B420B-D14F-7520-8F54-04C13CD6B8A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7" creationId="{09309181-BBCE-8F55-B39E-C89D8D2F85E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8" creationId="{D67A0011-F5B8-BBC9-2DBA-8541F421C49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2" creationId="{7A8B637C-9D28-0C92-A421-92356489B837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3" creationId="{87944A7B-2FE7-27E4-4876-E180406377E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4" creationId="{BC98BBBB-6961-8684-069C-13EEC08D7F8A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5" creationId="{A254AF7D-F138-0FF6-D869-87BF9364A9E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6" creationId="{8991DB85-40CE-8585-D930-B58E31394FF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7" creationId="{073218E2-A855-4746-E1A3-F40880C0BF3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8" creationId="{452E8975-6BA6-C154-E236-8F9C2F701DC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0" creationId="{1F602A78-C6C5-C38D-D974-72512A7EEAB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1" creationId="{C7014AFA-C52A-8DB2-0642-86ECDB780ED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3" creationId="{836593DC-B4FD-2149-FB04-BE49749F130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6" creationId="{1A086FC5-FC3A-D0D2-E037-CBCEB92CAEE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7" creationId="{903327F9-C3EF-7881-3255-BD0FF1F0248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0" creationId="{19617544-45D3-772D-15EC-174ECB83F72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1" creationId="{C6D801B4-D767-ACFE-219F-945FD59EACB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2" creationId="{A64BA04D-37D8-9FDA-82B1-C5E810604EA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3" creationId="{040BE928-DF26-3EB6-F09E-434631BC0D3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4" creationId="{9EE7380E-4A3E-A738-A4E3-8097E72F187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5" creationId="{951DA544-85FD-F53C-0012-966F9D29D8B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7" creationId="{19A6E2FE-1E87-C62E-F622-45C97EA2109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0" creationId="{46CC7317-75D6-2416-1A04-40C66C5170A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3" creationId="{AF7D8254-1281-6889-FFFA-BEF883847FB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5" creationId="{17AB39E3-8982-3262-3A33-68EA0F903D0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6" creationId="{F69C3EE8-1799-0B8E-ACDB-FA168F91623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7" creationId="{0DF5F847-1964-0E8C-097C-C9CBE90DC4F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8" creationId="{6EC92F4A-6B14-5F2B-0FFA-0A5E583BB41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9" creationId="{A535C756-3745-D13F-F55D-91454D749B7F}"/>
          </ac:spMkLst>
        </pc:s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46" creationId="{8E9A4689-AA96-8820-D6D5-3156B7341C1C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49" creationId="{4787F6A2-5D0F-11C9-1D29-95248A72A11C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52" creationId="{0B2D9AB3-23CC-8701-C626-6EED60A6FCE0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60" creationId="{622AFD81-F965-7DF8-8407-33ACB3352209}"/>
          </ac:grpSpMkLst>
        </pc:grp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19" creationId="{5129E8F9-33A9-FC5E-336F-75830FF1C381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20" creationId="{9CA9F040-C30D-337E-CA40-B670F1E2EF20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21" creationId="{3CFDD541-1801-DEAB-C875-FF733038B2E7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39" creationId="{7FEA9244-EE95-C247-9ED2-DC3D92DC1A49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48" creationId="{29D1E569-F517-F271-2250-1D35CC1D6AB7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51" creationId="{2A1592DC-DDE5-219F-6FA1-087027761684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54" creationId="{53A81C2F-2675-BD84-863F-1C6BA4D905B0}"/>
          </ac:picMkLst>
        </pc:pic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79" creationId="{921C0E8B-86DB-E5B3-1329-DEE22EF6F00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93" creationId="{16A2606B-2308-EFAC-5B00-CAF1656259B7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99" creationId="{1AA59A95-3254-D3B2-4041-3F16FD05C82E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2" creationId="{574B2C23-38CB-2004-6852-55D061647087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3" creationId="{78F562B5-A306-ED60-4477-85A762D0B74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4" creationId="{7B99E3C1-81FD-DAD1-FD56-CF4C365DB375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5" creationId="{8BACEC6E-CC5C-7B33-D04A-405B96AD96DA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6" creationId="{929D6AE4-258E-E3BA-34F3-1A8B61CAFA96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13" creationId="{BCBE51E6-24A0-2F28-2ED9-25AEDDB12328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14" creationId="{A08B1692-6CDD-D591-D4A0-D422723AEB3C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29" creationId="{BA365289-67EB-848D-2F7D-644C0083DB25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2" creationId="{471F6D81-E36A-790D-D92B-6E88202C953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4" creationId="{E3EF375D-6352-7D01-B7AB-D41261FCC4D9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5" creationId="{93EACC13-148C-4A6C-0FED-B86061E34161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8" creationId="{B623F54F-0B1C-F7DE-B081-339B1CDE39C0}"/>
          </ac:cxnSpMkLst>
        </pc:cxnChg>
      </pc:sldChg>
      <pc:sldChg chg="delSp mod">
        <pc:chgData name="Hanno Focken" userId="07ddbd8f-7dc8-4c50-855e-1be4be0ab5a1" providerId="ADAL" clId="{19D41F2B-6BA6-114E-B740-D17E1A3D9609}" dt="2023-09-26T12:27:21.371" v="0" actId="478"/>
        <pc:sldMkLst>
          <pc:docMk/>
          <pc:sldMk cId="2521528573" sldId="2147478965"/>
        </pc:sldMkLst>
        <pc:spChg chg="del">
          <ac:chgData name="Hanno Focken" userId="07ddbd8f-7dc8-4c50-855e-1be4be0ab5a1" providerId="ADAL" clId="{19D41F2B-6BA6-114E-B740-D17E1A3D9609}" dt="2023-09-26T12:27:21.371" v="0" actId="478"/>
          <ac:spMkLst>
            <pc:docMk/>
            <pc:sldMk cId="2521528573" sldId="2147478965"/>
            <ac:spMk id="5" creationId="{A27E9A14-D266-753D-1D5C-0B86688ED2DA}"/>
          </ac:spMkLst>
        </pc:spChg>
      </pc:sldChg>
    </pc:docChg>
  </pc:docChgLst>
  <pc:docChgLst>
    <pc:chgData name="Daniel Miehle" userId="S::daniel.miehle@catena-x.net::2ce2358f-c36f-469f-83f1-b89f40834cc8" providerId="AD" clId="Web-{2B3F8A2D-9327-FFA5-441D-48C757D1B3EF}"/>
    <pc:docChg chg="addSld modSld">
      <pc:chgData name="Daniel Miehle" userId="S::daniel.miehle@catena-x.net::2ce2358f-c36f-469f-83f1-b89f40834cc8" providerId="AD" clId="Web-{2B3F8A2D-9327-FFA5-441D-48C757D1B3EF}" dt="2024-04-04T10:55:45.668" v="17" actId="20577"/>
      <pc:docMkLst>
        <pc:docMk/>
      </pc:docMkLst>
      <pc:sldChg chg="addSp delSp modSp">
        <pc:chgData name="Daniel Miehle" userId="S::daniel.miehle@catena-x.net::2ce2358f-c36f-469f-83f1-b89f40834cc8" providerId="AD" clId="Web-{2B3F8A2D-9327-FFA5-441D-48C757D1B3EF}" dt="2024-04-04T10:54:40.417" v="2"/>
        <pc:sldMkLst>
          <pc:docMk/>
          <pc:sldMk cId="1632805154" sldId="2147478846"/>
        </pc:sldMkLst>
        <pc:spChg chg="add del mod">
          <ac:chgData name="Daniel Miehle" userId="S::daniel.miehle@catena-x.net::2ce2358f-c36f-469f-83f1-b89f40834cc8" providerId="AD" clId="Web-{2B3F8A2D-9327-FFA5-441D-48C757D1B3EF}" dt="2024-04-04T10:54:40.417" v="2"/>
          <ac:spMkLst>
            <pc:docMk/>
            <pc:sldMk cId="1632805154" sldId="2147478846"/>
            <ac:spMk id="5" creationId="{7F8DC2D2-7DCC-7F4D-AA6D-DEC7B5CCC13F}"/>
          </ac:spMkLst>
        </pc:spChg>
      </pc:sldChg>
      <pc:sldChg chg="modSp">
        <pc:chgData name="Daniel Miehle" userId="S::daniel.miehle@catena-x.net::2ce2358f-c36f-469f-83f1-b89f40834cc8" providerId="AD" clId="Web-{2B3F8A2D-9327-FFA5-441D-48C757D1B3EF}" dt="2024-04-04T10:55:31.136" v="15" actId="20577"/>
        <pc:sldMkLst>
          <pc:docMk/>
          <pc:sldMk cId="563177715" sldId="2147478960"/>
        </pc:sldMkLst>
        <pc:spChg chg="mod">
          <ac:chgData name="Daniel Miehle" userId="S::daniel.miehle@catena-x.net::2ce2358f-c36f-469f-83f1-b89f40834cc8" providerId="AD" clId="Web-{2B3F8A2D-9327-FFA5-441D-48C757D1B3EF}" dt="2024-04-04T10:55:31.136" v="15" actId="20577"/>
          <ac:spMkLst>
            <pc:docMk/>
            <pc:sldMk cId="563177715" sldId="2147478960"/>
            <ac:spMk id="2" creationId="{D5E426A1-FCE5-B851-4E8E-47D77FBD532F}"/>
          </ac:spMkLst>
        </pc:spChg>
      </pc:sldChg>
      <pc:sldChg chg="modSp add">
        <pc:chgData name="Daniel Miehle" userId="S::daniel.miehle@catena-x.net::2ce2358f-c36f-469f-83f1-b89f40834cc8" providerId="AD" clId="Web-{2B3F8A2D-9327-FFA5-441D-48C757D1B3EF}" dt="2024-04-04T10:55:45.668" v="17" actId="20577"/>
        <pc:sldMkLst>
          <pc:docMk/>
          <pc:sldMk cId="2452595415" sldId="2147478968"/>
        </pc:sldMkLst>
        <pc:spChg chg="mod">
          <ac:chgData name="Daniel Miehle" userId="S::daniel.miehle@catena-x.net::2ce2358f-c36f-469f-83f1-b89f40834cc8" providerId="AD" clId="Web-{2B3F8A2D-9327-FFA5-441D-48C757D1B3EF}" dt="2024-04-04T10:55:45.668" v="17" actId="20577"/>
          <ac:spMkLst>
            <pc:docMk/>
            <pc:sldMk cId="2452595415" sldId="2147478968"/>
            <ac:spMk id="2" creationId="{D5E426A1-FCE5-B851-4E8E-47D77FBD532F}"/>
          </ac:spMkLst>
        </pc:spChg>
        <pc:spChg chg="mod">
          <ac:chgData name="Daniel Miehle" userId="S::daniel.miehle@catena-x.net::2ce2358f-c36f-469f-83f1-b89f40834cc8" providerId="AD" clId="Web-{2B3F8A2D-9327-FFA5-441D-48C757D1B3EF}" dt="2024-04-04T10:55:09.793" v="4" actId="20577"/>
          <ac:spMkLst>
            <pc:docMk/>
            <pc:sldMk cId="2452595415" sldId="2147478968"/>
            <ac:spMk id="218" creationId="{924167B8-8D7A-2EA5-5DCC-4B8186D0F8CF}"/>
          </ac:spMkLst>
        </pc:spChg>
      </pc:sldChg>
    </pc:docChg>
  </pc:docChgLst>
  <pc:docChgLst>
    <pc:chgData name="Werner Roman FRD FIEA" userId="179b31d7-4203-431e-8a87-3306d648d012" providerId="ADAL" clId="{2D18474D-B58F-4D8F-B27F-390D4D96BD6C}"/>
    <pc:docChg chg="undo custSel addSld delSld modSld">
      <pc:chgData name="Werner Roman FRD FIEA" userId="179b31d7-4203-431e-8a87-3306d648d012" providerId="ADAL" clId="{2D18474D-B58F-4D8F-B27F-390D4D96BD6C}" dt="2023-10-06T11:52:00.989" v="164" actId="1035"/>
      <pc:docMkLst>
        <pc:docMk/>
      </pc:docMkLst>
      <pc:sldChg chg="delSp add mod">
        <pc:chgData name="Werner Roman FRD FIEA" userId="179b31d7-4203-431e-8a87-3306d648d012" providerId="ADAL" clId="{2D18474D-B58F-4D8F-B27F-390D4D96BD6C}" dt="2023-09-25T15:22:51.565" v="2" actId="478"/>
        <pc:sldMkLst>
          <pc:docMk/>
          <pc:sldMk cId="563177715" sldId="2147478960"/>
        </pc:sldMkLst>
        <pc:spChg chg="del">
          <ac:chgData name="Werner Roman FRD FIEA" userId="179b31d7-4203-431e-8a87-3306d648d012" providerId="ADAL" clId="{2D18474D-B58F-4D8F-B27F-390D4D96BD6C}" dt="2023-09-25T15:22:51.565" v="2" actId="478"/>
          <ac:spMkLst>
            <pc:docMk/>
            <pc:sldMk cId="563177715" sldId="2147478960"/>
            <ac:spMk id="9" creationId="{1DBE3300-227A-DC7D-0979-0B77DDACB5CD}"/>
          </ac:spMkLst>
        </pc:spChg>
      </pc:sldChg>
      <pc:sldChg chg="del">
        <pc:chgData name="Werner Roman FRD FIEA" userId="179b31d7-4203-431e-8a87-3306d648d012" providerId="ADAL" clId="{2D18474D-B58F-4D8F-B27F-390D4D96BD6C}" dt="2023-09-25T15:22:48.923" v="1" actId="47"/>
        <pc:sldMkLst>
          <pc:docMk/>
          <pc:sldMk cId="2677700689" sldId="2147478961"/>
        </pc:sldMkLst>
      </pc:sldChg>
      <pc:sldChg chg="modSp mod">
        <pc:chgData name="Werner Roman FRD FIEA" userId="179b31d7-4203-431e-8a87-3306d648d012" providerId="ADAL" clId="{2D18474D-B58F-4D8F-B27F-390D4D96BD6C}" dt="2023-10-06T11:52:00.989" v="164" actId="1035"/>
        <pc:sldMkLst>
          <pc:docMk/>
          <pc:sldMk cId="3185605821" sldId="2147478962"/>
        </pc:sldMkLst>
        <pc:spChg chg="mod">
          <ac:chgData name="Werner Roman FRD FIEA" userId="179b31d7-4203-431e-8a87-3306d648d012" providerId="ADAL" clId="{2D18474D-B58F-4D8F-B27F-390D4D96BD6C}" dt="2023-10-06T11:52:00.989" v="164" actId="1035"/>
          <ac:spMkLst>
            <pc:docMk/>
            <pc:sldMk cId="3185605821" sldId="2147478962"/>
            <ac:spMk id="7" creationId="{2EF47E01-B3CE-E740-466F-C61F99069165}"/>
          </ac:spMkLst>
        </pc:spChg>
      </pc:sldChg>
      <pc:sldChg chg="addSp delSp modSp add mod addCm delCm modCm">
        <pc:chgData name="Werner Roman FRD FIEA" userId="179b31d7-4203-431e-8a87-3306d648d012" providerId="ADAL" clId="{2D18474D-B58F-4D8F-B27F-390D4D96BD6C}" dt="2023-10-04T14:44:08.748" v="162" actId="20577"/>
        <pc:sldMkLst>
          <pc:docMk/>
          <pc:sldMk cId="3228577685" sldId="2147478967"/>
        </pc:sldMkLst>
        <pc:spChg chg="mod">
          <ac:chgData name="Werner Roman FRD FIEA" userId="179b31d7-4203-431e-8a87-3306d648d012" providerId="ADAL" clId="{2D18474D-B58F-4D8F-B27F-390D4D96BD6C}" dt="2023-10-04T14:11:43.290" v="20" actId="20577"/>
          <ac:spMkLst>
            <pc:docMk/>
            <pc:sldMk cId="3228577685" sldId="2147478967"/>
            <ac:spMk id="4" creationId="{74F025DB-E0BC-335E-FB4D-6BA13F62AC2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5" creationId="{00758E3E-542E-5B00-DF1D-1BD7B6B517E4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" creationId="{78C59F8C-BCA5-31CF-9945-4EA1695C79C5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8" creationId="{2446D433-A1D7-BDA5-2E34-7BB9A4D31735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" creationId="{98A5F7A6-9569-0051-3F92-56383D96A37A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1" creationId="{B5D52A5D-B715-7FDF-B7AF-0112FCDEC279}"/>
          </ac:spMkLst>
        </pc:spChg>
        <pc:spChg chg="add del mod">
          <ac:chgData name="Werner Roman FRD FIEA" userId="179b31d7-4203-431e-8a87-3306d648d012" providerId="ADAL" clId="{2D18474D-B58F-4D8F-B27F-390D4D96BD6C}" dt="2023-10-04T14:13:15.632" v="24" actId="478"/>
          <ac:spMkLst>
            <pc:docMk/>
            <pc:sldMk cId="3228577685" sldId="2147478967"/>
            <ac:spMk id="12" creationId="{2C1C9978-7FFB-2AB5-8294-E00712BFCCDB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3" creationId="{058C70AE-88C9-AB90-9C2B-95B15A71666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4" creationId="{0BF418D7-964F-D281-0DA1-44A94BD25541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6" creationId="{F21FA148-5B5A-5B3D-3068-0FF4536EB443}"/>
          </ac:spMkLst>
        </pc:spChg>
        <pc:spChg chg="mod">
          <ac:chgData name="Werner Roman FRD FIEA" userId="179b31d7-4203-431e-8a87-3306d648d012" providerId="ADAL" clId="{2D18474D-B58F-4D8F-B27F-390D4D96BD6C}" dt="2023-10-04T14:40:29.107" v="108" actId="164"/>
          <ac:spMkLst>
            <pc:docMk/>
            <pc:sldMk cId="3228577685" sldId="2147478967"/>
            <ac:spMk id="17" creationId="{70E2BC1A-527B-2124-4A29-124924FED3C3}"/>
          </ac:spMkLst>
        </pc:spChg>
        <pc:spChg chg="del mod ord">
          <ac:chgData name="Werner Roman FRD FIEA" userId="179b31d7-4203-431e-8a87-3306d648d012" providerId="ADAL" clId="{2D18474D-B58F-4D8F-B27F-390D4D96BD6C}" dt="2023-10-04T14:39:29.788" v="69" actId="478"/>
          <ac:spMkLst>
            <pc:docMk/>
            <pc:sldMk cId="3228577685" sldId="2147478967"/>
            <ac:spMk id="18" creationId="{D63F5843-A6FD-6811-1E17-9D4F3E3818C7}"/>
          </ac:spMkLst>
        </pc:spChg>
        <pc:spChg chg="mod">
          <ac:chgData name="Werner Roman FRD FIEA" userId="179b31d7-4203-431e-8a87-3306d648d012" providerId="ADAL" clId="{2D18474D-B58F-4D8F-B27F-390D4D96BD6C}" dt="2023-10-04T14:44:00.429" v="157" actId="20577"/>
          <ac:spMkLst>
            <pc:docMk/>
            <pc:sldMk cId="3228577685" sldId="2147478967"/>
            <ac:spMk id="21" creationId="{93C2AFD6-10A2-8E12-0713-69DD53B20B5F}"/>
          </ac:spMkLst>
        </pc:spChg>
        <pc:spChg chg="mod">
          <ac:chgData name="Werner Roman FRD FIEA" userId="179b31d7-4203-431e-8a87-3306d648d012" providerId="ADAL" clId="{2D18474D-B58F-4D8F-B27F-390D4D96BD6C}" dt="2023-10-04T14:44:08.748" v="162" actId="20577"/>
          <ac:spMkLst>
            <pc:docMk/>
            <pc:sldMk cId="3228577685" sldId="2147478967"/>
            <ac:spMk id="22" creationId="{CBDFEDC6-259C-56BD-323D-477306F61869}"/>
          </ac:spMkLst>
        </pc:spChg>
        <pc:spChg chg="del">
          <ac:chgData name="Werner Roman FRD FIEA" userId="179b31d7-4203-431e-8a87-3306d648d012" providerId="ADAL" clId="{2D18474D-B58F-4D8F-B27F-390D4D96BD6C}" dt="2023-10-04T14:14:44.536" v="58" actId="478"/>
          <ac:spMkLst>
            <pc:docMk/>
            <pc:sldMk cId="3228577685" sldId="2147478967"/>
            <ac:spMk id="23" creationId="{95B07E25-9A76-02E8-7080-10C91A561380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24" creationId="{4DB5316E-0271-4BD6-7791-BD8EFC1A39A6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25" creationId="{EEE1FD01-302A-2371-EBEF-2830E442F761}"/>
          </ac:spMkLst>
        </pc:spChg>
        <pc:spChg chg="add mod">
          <ac:chgData name="Werner Roman FRD FIEA" userId="179b31d7-4203-431e-8a87-3306d648d012" providerId="ADAL" clId="{2D18474D-B58F-4D8F-B27F-390D4D96BD6C}" dt="2023-10-04T14:14:56.946" v="60" actId="1076"/>
          <ac:spMkLst>
            <pc:docMk/>
            <pc:sldMk cId="3228577685" sldId="2147478967"/>
            <ac:spMk id="26" creationId="{7CFA4B4D-8DBA-9E8F-6A66-EEDF331F2553}"/>
          </ac:spMkLst>
        </pc:spChg>
        <pc:spChg chg="add mod">
          <ac:chgData name="Werner Roman FRD FIEA" userId="179b31d7-4203-431e-8a87-3306d648d012" providerId="ADAL" clId="{2D18474D-B58F-4D8F-B27F-390D4D96BD6C}" dt="2023-10-04T14:40:29.107" v="108" actId="164"/>
          <ac:spMkLst>
            <pc:docMk/>
            <pc:sldMk cId="3228577685" sldId="2147478967"/>
            <ac:spMk id="27" creationId="{5D7A8DBE-A9B8-2198-F692-E92DA59416AC}"/>
          </ac:spMkLst>
        </pc:spChg>
        <pc:spChg chg="add del mod">
          <ac:chgData name="Werner Roman FRD FIEA" userId="179b31d7-4203-431e-8a87-3306d648d012" providerId="ADAL" clId="{2D18474D-B58F-4D8F-B27F-390D4D96BD6C}" dt="2023-10-04T14:13:44.646" v="38" actId="21"/>
          <ac:spMkLst>
            <pc:docMk/>
            <pc:sldMk cId="3228577685" sldId="2147478967"/>
            <ac:spMk id="28" creationId="{3C25067B-6221-4F61-A336-9C71F57BB24E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0" creationId="{837EDE02-69D8-C1F1-E49B-A0E5004EAA3B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2" creationId="{0D027C56-EBDE-1F0C-194D-F5289A5C66B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3" creationId="{B005B1EC-3366-0D3A-EBD1-DD0C79D5E4C7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5" creationId="{B8BAD508-85D4-72AC-4312-E444AF4D84AE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7" creationId="{6C137AD1-65F6-60E4-0441-6C4ABC848068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40" creationId="{2CB55B8B-5285-E08C-0185-0D5ABD0B324F}"/>
          </ac:spMkLst>
        </pc:spChg>
        <pc:spChg chg="add mod">
          <ac:chgData name="Werner Roman FRD FIEA" userId="179b31d7-4203-431e-8a87-3306d648d012" providerId="ADAL" clId="{2D18474D-B58F-4D8F-B27F-390D4D96BD6C}" dt="2023-10-04T14:40:35.491" v="114" actId="14100"/>
          <ac:spMkLst>
            <pc:docMk/>
            <pc:sldMk cId="3228577685" sldId="2147478967"/>
            <ac:spMk id="41" creationId="{B14ADDC3-8506-DC30-F0F7-EFA0B41DEB4B}"/>
          </ac:spMkLst>
        </pc:spChg>
        <pc:spChg chg="add del mod">
          <ac:chgData name="Werner Roman FRD FIEA" userId="179b31d7-4203-431e-8a87-3306d648d012" providerId="ADAL" clId="{2D18474D-B58F-4D8F-B27F-390D4D96BD6C}" dt="2023-10-04T14:40:00.219" v="84" actId="478"/>
          <ac:spMkLst>
            <pc:docMk/>
            <pc:sldMk cId="3228577685" sldId="2147478967"/>
            <ac:spMk id="42" creationId="{2F885F81-E0B7-F10D-953D-D775E9CDCEF3}"/>
          </ac:spMkLst>
        </pc:spChg>
        <pc:spChg chg="add mod">
          <ac:chgData name="Werner Roman FRD FIEA" userId="179b31d7-4203-431e-8a87-3306d648d012" providerId="ADAL" clId="{2D18474D-B58F-4D8F-B27F-390D4D96BD6C}" dt="2023-10-04T14:41:13.145" v="138" actId="20577"/>
          <ac:spMkLst>
            <pc:docMk/>
            <pc:sldMk cId="3228577685" sldId="2147478967"/>
            <ac:spMk id="48" creationId="{0D72F51F-E155-7C1E-B942-361D66269686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49" creationId="{C9AEBFC1-040C-3FE1-5321-2F2DDD83CF2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57" creationId="{98D4562C-85D7-F4E4-9834-D4E6572DD5CA}"/>
          </ac:spMkLst>
        </pc:spChg>
        <pc:spChg chg="mod">
          <ac:chgData name="Werner Roman FRD FIEA" userId="179b31d7-4203-431e-8a87-3306d648d012" providerId="ADAL" clId="{2D18474D-B58F-4D8F-B27F-390D4D96BD6C}" dt="2023-10-04T14:42:27.168" v="151" actId="20577"/>
          <ac:spMkLst>
            <pc:docMk/>
            <pc:sldMk cId="3228577685" sldId="2147478967"/>
            <ac:spMk id="60" creationId="{D90F85CD-6C68-CB80-FF34-C7021BAEA687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4" creationId="{B28F2A7E-248A-3075-228B-932627DA90F8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9" creationId="{F4F40D9F-CCE3-B2D0-57AD-14EDCC2F1BE3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2" creationId="{04F33F0F-8C06-98E5-A8BB-A54007B4EC13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5" creationId="{04760EF7-A90C-EA3F-95F7-76BD8538674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7" creationId="{ADDB2CC7-0E75-9541-0C81-03BCC8FAF30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83" creationId="{1474796F-4F8C-ACB8-EFB5-6A8F6812E53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3" creationId="{5BD5D5BA-6230-33EC-5FB7-7D513760EAB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4" creationId="{222994EC-2763-ABF5-3B08-684F700F888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7" creationId="{EC72F40D-2615-CFC7-8B4C-09E4D443B929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04" creationId="{6D9E58E5-9D61-CB46-1D2D-C5468906D1B3}"/>
          </ac:spMkLst>
        </pc:spChg>
        <pc:grpChg chg="mod">
          <ac:chgData name="Werner Roman FRD FIEA" userId="179b31d7-4203-431e-8a87-3306d648d012" providerId="ADAL" clId="{2D18474D-B58F-4D8F-B27F-390D4D96BD6C}" dt="2023-10-04T14:44:05.711" v="158" actId="14100"/>
          <ac:grpSpMkLst>
            <pc:docMk/>
            <pc:sldMk cId="3228577685" sldId="2147478967"/>
            <ac:grpSpMk id="3" creationId="{D88767D7-504D-3990-A3EA-01AFD59630A1}"/>
          </ac:grpSpMkLst>
        </pc:grpChg>
        <pc:grpChg chg="mod">
          <ac:chgData name="Werner Roman FRD FIEA" userId="179b31d7-4203-431e-8a87-3306d648d012" providerId="ADAL" clId="{2D18474D-B58F-4D8F-B27F-390D4D96BD6C}" dt="2023-10-04T14:40:08.723" v="102" actId="1035"/>
          <ac:grpSpMkLst>
            <pc:docMk/>
            <pc:sldMk cId="3228577685" sldId="2147478967"/>
            <ac:grpSpMk id="46" creationId="{E56317AA-5ED0-B376-420F-5AE7A1F43CBA}"/>
          </ac:grpSpMkLst>
        </pc:grpChg>
        <pc:grpChg chg="add mod">
          <ac:chgData name="Werner Roman FRD FIEA" userId="179b31d7-4203-431e-8a87-3306d648d012" providerId="ADAL" clId="{2D18474D-B58F-4D8F-B27F-390D4D96BD6C}" dt="2023-10-04T14:40:29.958" v="112" actId="1038"/>
          <ac:grpSpMkLst>
            <pc:docMk/>
            <pc:sldMk cId="3228577685" sldId="2147478967"/>
            <ac:grpSpMk id="47" creationId="{52CF040A-2736-69D0-9500-8346589E9560}"/>
          </ac:grpSpMkLst>
        </pc:grp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15" creationId="{42B16B73-6B2B-A8BE-3CA3-C661731C530D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29" creationId="{B78523AF-8B28-A54B-3441-9A146C1CDF17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1" creationId="{DE83A375-EFED-7961-F788-1381088E9ADE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34" creationId="{68B29791-D0DC-0AE9-8AF7-2C441F8CBD1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6" creationId="{061943BD-230D-8650-D16E-F416FBB100A5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9" creationId="{847C4629-77F8-5F49-0E41-F546EB40D11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51" creationId="{A5DE6610-72CC-85E4-4FA8-8A9B848ED2DE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54" creationId="{8E46F09A-7E1C-2DB2-1C02-CD10A1104A56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59" creationId="{0028DEDF-959A-CA2C-0945-C94A71542004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65" creationId="{C19EFDCE-7D47-1952-994D-5D94817D377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89" creationId="{666018D8-8EA6-1888-D232-B39B370D488B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92" creationId="{0A4B29D2-9DE4-3A7F-3320-A1B71AEBA114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101" creationId="{59FF9A96-E36F-948D-B5A5-94E362B833BB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055F164-CB95-4BC3-9DDB-45CA2CE010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5250C4-62D4-4E9D-8419-C2B5A5EE52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3CDCE-39AD-473F-A12F-FFB7F618A376}" type="datetimeFigureOut">
              <a:rPr lang="de-DE" smtClean="0"/>
              <a:t>06.06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27D1424-08FD-4B4D-9DEF-A4CEC9529D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D0E87D-8FD6-4F63-9E35-1BA1074D7A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B4224-A638-4E81-A729-16E2E059737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3176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F5827C-5BA7-4A1C-AE89-0144598B9763}" type="datetimeFigureOut">
              <a:rPr lang="de-DE" smtClean="0"/>
              <a:t>06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C576A-2AD5-4175-81A7-2313C2C0C13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0378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C576A-2AD5-4175-81A7-2313C2C0C13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914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8621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0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3"/>
            <a:ext cx="5760000" cy="720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9137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589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04482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1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03041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3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799" y="-4236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53244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4286" userDrawn="1">
          <p15:clr>
            <a:srgbClr val="FBAE40"/>
          </p15:clr>
        </p15:guide>
        <p15:guide id="5" pos="6962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515" userDrawn="1">
          <p15:clr>
            <a:srgbClr val="FBAE40"/>
          </p15:clr>
        </p15:guide>
        <p15:guide id="8" pos="3991" userDrawn="1">
          <p15:clr>
            <a:srgbClr val="FBAE40"/>
          </p15:clr>
        </p15:guide>
        <p15:guide id="9" orient="horz" pos="112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649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9268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89822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10622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3069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0224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37308852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4518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19956896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33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9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56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1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1" y="4320000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1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1" y="358189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1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1" y="2843791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1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1" y="210568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1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1" y="1367582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2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4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88908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60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9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54222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5371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1627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4"/>
            <a:ext cx="5760000" cy="720001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3949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" userDrawn="1">
          <p15:clr>
            <a:srgbClr val="FBAE40"/>
          </p15:clr>
        </p15:guide>
        <p15:guide id="2" pos="372" userDrawn="1">
          <p15:clr>
            <a:srgbClr val="FBAE40"/>
          </p15:clr>
        </p15:guide>
        <p15:guide id="3" pos="74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62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923200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2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18132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372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4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800" y="-423599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94000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6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5400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428" userDrawn="1">
          <p15:clr>
            <a:srgbClr val="FBAE40"/>
          </p15:clr>
        </p15:guide>
        <p15:guide id="8" pos="5028" userDrawn="1">
          <p15:clr>
            <a:srgbClr val="FBAE40"/>
          </p15:clr>
        </p15:guide>
        <p15:guide id="9" orient="horz" pos="141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0388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0578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49321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044172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977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197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27E8EFA-32B0-AD87-FDE9-C54006AA6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982341"/>
              </p:ext>
            </p:ext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27E8EFA-32B0-AD87-FDE9-C54006AA6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06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058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284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0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0" y="4320000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0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0" y="358189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0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0" y="284379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0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0" y="210568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0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0" y="136758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567365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6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59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8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10783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1417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0854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4.xml"/><Relationship Id="rId27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59" imgH="360" progId="TCLayout.ActiveDocument.1">
                  <p:embed/>
                </p:oleObj>
              </mc:Choice>
              <mc:Fallback>
                <p:oleObj name="think-cell Folie" r:id="rId22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8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6887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9" r:id="rId2"/>
    <p:sldLayoutId id="2147483662" r:id="rId3"/>
    <p:sldLayoutId id="2147483664" r:id="rId4"/>
    <p:sldLayoutId id="2147483693" r:id="rId5"/>
    <p:sldLayoutId id="2147483694" r:id="rId6"/>
    <p:sldLayoutId id="2147483686" r:id="rId7"/>
    <p:sldLayoutId id="2147483692" r:id="rId8"/>
    <p:sldLayoutId id="2147483688" r:id="rId9"/>
    <p:sldLayoutId id="2147483660" r:id="rId10"/>
    <p:sldLayoutId id="2147483690" r:id="rId11"/>
    <p:sldLayoutId id="2147483663" r:id="rId12"/>
    <p:sldLayoutId id="2147483661" r:id="rId13"/>
    <p:sldLayoutId id="2147483695" r:id="rId14"/>
    <p:sldLayoutId id="2147483698" r:id="rId15"/>
    <p:sldLayoutId id="2147483689" r:id="rId16"/>
    <p:sldLayoutId id="2147483691" r:id="rId17"/>
    <p:sldLayoutId id="2147483696" r:id="rId18"/>
    <p:sldLayoutId id="2147483697" r:id="rId19"/>
  </p:sldLayoutIdLst>
  <p:hf hdr="0"/>
  <p:txStyles>
    <p:titleStyle>
      <a:lvl1pPr marL="0" indent="0" algn="l" defTabSz="86401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4000" indent="-864000" algn="l" defTabSz="864017" rtl="0" eaLnBrk="1" latinLnBrk="0" hangingPunct="1">
        <a:lnSpc>
          <a:spcPct val="95000"/>
        </a:lnSpc>
        <a:spcBef>
          <a:spcPts val="2000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80000" indent="-21600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59" imgH="360" progId="TCLayout.ActiveDocument.1">
                  <p:embed/>
                </p:oleObj>
              </mc:Choice>
              <mc:Fallback>
                <p:oleObj name="think-cell Folie" r:id="rId2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7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6334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</p:sldLayoutIdLst>
  <p:hf hdr="0"/>
  <p:txStyles>
    <p:titleStyle>
      <a:lvl1pPr marL="0" indent="0" algn="l" defTabSz="86400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3985" indent="-863985" algn="l" defTabSz="864002" rtl="0" eaLnBrk="1" latinLnBrk="0" hangingPunct="1">
        <a:lnSpc>
          <a:spcPct val="95000"/>
        </a:lnSpc>
        <a:spcBef>
          <a:spcPts val="1999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79981" indent="-215996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1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03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04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05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!!ass">
            <a:extLst>
              <a:ext uri="{FF2B5EF4-FFF2-40B4-BE49-F238E27FC236}">
                <a16:creationId xmlns:a16="http://schemas.microsoft.com/office/drawing/2014/main" id="{D9FE131E-E75F-44B3-9EF0-D53ACC259D10}"/>
              </a:ext>
            </a:extLst>
          </p:cNvPr>
          <p:cNvSpPr/>
          <p:nvPr/>
        </p:nvSpPr>
        <p:spPr>
          <a:xfrm>
            <a:off x="242762" y="950210"/>
            <a:ext cx="9012998" cy="2064450"/>
          </a:xfrm>
          <a:prstGeom prst="roundRect">
            <a:avLst>
              <a:gd name="adj" fmla="val 4156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dirty="0">
                <a:solidFill>
                  <a:schemeClr val="bg1"/>
                </a:solidFill>
                <a:latin typeface="Manrope" pitchFamily="2" charset="0"/>
              </a:rPr>
              <a:t>Catena-X </a:t>
            </a:r>
            <a:r>
              <a:rPr lang="en-US" sz="1400" b="1" dirty="0" err="1">
                <a:solidFill>
                  <a:schemeClr val="bg1"/>
                </a:solidFill>
                <a:latin typeface="Manrope" pitchFamily="2" charset="0"/>
              </a:rPr>
              <a:t>e.V.</a:t>
            </a:r>
            <a:br>
              <a:rPr lang="en-US" sz="1400" b="1" dirty="0">
                <a:solidFill>
                  <a:schemeClr val="bg1"/>
                </a:solidFill>
                <a:latin typeface="Manrope" pitchFamily="2" charset="0"/>
              </a:rPr>
            </a:br>
            <a:br>
              <a:rPr lang="en-US" sz="1400" b="1" dirty="0">
                <a:solidFill>
                  <a:schemeClr val="bg1"/>
                </a:solidFill>
                <a:latin typeface="Manrope" pitchFamily="2" charset="0"/>
              </a:rPr>
            </a:br>
            <a:r>
              <a:rPr lang="en-US" sz="1000" dirty="0">
                <a:solidFill>
                  <a:schemeClr val="bg1"/>
                </a:solidFill>
                <a:latin typeface="Manrope" pitchFamily="2" charset="0"/>
              </a:rPr>
              <a:t>promotes, </a:t>
            </a:r>
            <a:br>
              <a:rPr lang="en-US" sz="1000" dirty="0">
                <a:solidFill>
                  <a:schemeClr val="bg1"/>
                </a:solidFill>
                <a:latin typeface="Manrope" pitchFamily="2" charset="0"/>
              </a:rPr>
            </a:br>
            <a:r>
              <a:rPr lang="en-US" sz="1000" dirty="0">
                <a:solidFill>
                  <a:schemeClr val="bg1"/>
                </a:solidFill>
                <a:latin typeface="Manrope" pitchFamily="2" charset="0"/>
              </a:rPr>
              <a:t>coordinates and </a:t>
            </a:r>
            <a:br>
              <a:rPr lang="en-US" sz="1000" dirty="0">
                <a:solidFill>
                  <a:schemeClr val="bg1"/>
                </a:solidFill>
                <a:latin typeface="Manrope" pitchFamily="2" charset="0"/>
              </a:rPr>
            </a:br>
            <a:r>
              <a:rPr lang="en-US" sz="1000" dirty="0">
                <a:solidFill>
                  <a:schemeClr val="bg1"/>
                </a:solidFill>
                <a:latin typeface="Manrope" pitchFamily="2" charset="0"/>
              </a:rPr>
              <a:t>manages</a:t>
            </a:r>
            <a:endParaRPr lang="en-US" sz="1050" dirty="0">
              <a:solidFill>
                <a:schemeClr val="bg1"/>
              </a:solidFill>
              <a:latin typeface="Manrope" pitchFamily="2" charset="0"/>
            </a:endParaRPr>
          </a:p>
          <a:p>
            <a:endParaRPr lang="en-US" sz="1000" dirty="0">
              <a:solidFill>
                <a:schemeClr val="bg1"/>
              </a:solidFill>
              <a:latin typeface="Manrope" pitchFamily="2" charset="0"/>
            </a:endParaRPr>
          </a:p>
        </p:txBody>
      </p:sp>
      <p:sp>
        <p:nvSpPr>
          <p:cNvPr id="63" name="!!op">
            <a:extLst>
              <a:ext uri="{FF2B5EF4-FFF2-40B4-BE49-F238E27FC236}">
                <a16:creationId xmlns:a16="http://schemas.microsoft.com/office/drawing/2014/main" id="{A8DE2D36-5C01-4DF5-BA0F-18EA6C4A9A83}"/>
              </a:ext>
            </a:extLst>
          </p:cNvPr>
          <p:cNvSpPr/>
          <p:nvPr/>
        </p:nvSpPr>
        <p:spPr>
          <a:xfrm>
            <a:off x="7588955" y="3769223"/>
            <a:ext cx="1666805" cy="2373976"/>
          </a:xfrm>
          <a:prstGeom prst="roundRect">
            <a:avLst>
              <a:gd name="adj" fmla="val 3574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>
                <a:solidFill>
                  <a:schemeClr val="bg1"/>
                </a:solidFill>
                <a:latin typeface="Manrope" pitchFamily="2" charset="0"/>
              </a:rPr>
              <a:t>Operating Environment</a:t>
            </a:r>
          </a:p>
          <a:p>
            <a:endParaRPr lang="en-US" sz="1200" b="1">
              <a:solidFill>
                <a:schemeClr val="bg1"/>
              </a:solidFill>
              <a:latin typeface="Manrope" pitchFamily="2" charset="0"/>
            </a:endParaRPr>
          </a:p>
          <a:p>
            <a:r>
              <a:rPr lang="en-US" sz="900">
                <a:solidFill>
                  <a:schemeClr val="bg1"/>
                </a:solidFill>
                <a:latin typeface="Manrope" pitchFamily="2" charset="0"/>
              </a:rPr>
              <a:t>The different roles offer…</a:t>
            </a:r>
            <a:endParaRPr lang="en-US" sz="1200" b="1">
              <a:solidFill>
                <a:schemeClr val="bg1"/>
              </a:solidFill>
              <a:latin typeface="Manrope" pitchFamily="2" charset="0"/>
            </a:endParaRPr>
          </a:p>
          <a:p>
            <a:endParaRPr lang="en-US" sz="1200" b="1">
              <a:solidFill>
                <a:schemeClr val="bg1"/>
              </a:solidFill>
              <a:latin typeface="Manrope" pitchFamily="2" charset="0"/>
            </a:endParaRPr>
          </a:p>
          <a:p>
            <a:endParaRPr lang="en-US" sz="1134" b="1">
              <a:solidFill>
                <a:schemeClr val="bg1"/>
              </a:solidFill>
              <a:latin typeface="Manrope" pitchFamily="2" charset="0"/>
            </a:endParaRPr>
          </a:p>
          <a:p>
            <a:endParaRPr lang="en-US" sz="1134" b="1">
              <a:solidFill>
                <a:schemeClr val="bg1"/>
              </a:solidFill>
              <a:latin typeface="Manrope" pitchFamily="2" charset="0"/>
            </a:endParaRPr>
          </a:p>
        </p:txBody>
      </p:sp>
      <p:sp>
        <p:nvSpPr>
          <p:cNvPr id="62" name="!!dev">
            <a:extLst>
              <a:ext uri="{FF2B5EF4-FFF2-40B4-BE49-F238E27FC236}">
                <a16:creationId xmlns:a16="http://schemas.microsoft.com/office/drawing/2014/main" id="{E35901BC-3A1F-4B0C-A992-874268F2D723}"/>
              </a:ext>
            </a:extLst>
          </p:cNvPr>
          <p:cNvSpPr/>
          <p:nvPr/>
        </p:nvSpPr>
        <p:spPr>
          <a:xfrm>
            <a:off x="263917" y="3769223"/>
            <a:ext cx="1747821" cy="2373976"/>
          </a:xfrm>
          <a:prstGeom prst="roundRect">
            <a:avLst>
              <a:gd name="adj" fmla="val 3341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>
                <a:solidFill>
                  <a:schemeClr val="bg1"/>
                </a:solidFill>
                <a:latin typeface="Manrope" pitchFamily="2" charset="0"/>
              </a:rPr>
              <a:t>Development Environ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683186D-4117-0DC8-B188-1D6FB9442E84}"/>
              </a:ext>
            </a:extLst>
          </p:cNvPr>
          <p:cNvSpPr/>
          <p:nvPr/>
        </p:nvSpPr>
        <p:spPr>
          <a:xfrm>
            <a:off x="3513436" y="3774429"/>
            <a:ext cx="3061500" cy="2373976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Manrope" pitchFamily="2" charset="0"/>
              </a:rPr>
              <a:t>Data Space Operating System &amp; Building Blocks </a:t>
            </a:r>
            <a:br>
              <a:rPr lang="en-US" sz="900" b="1">
                <a:solidFill>
                  <a:schemeClr val="tx1"/>
                </a:solidFill>
                <a:latin typeface="Manrope" pitchFamily="2" charset="0"/>
              </a:rPr>
            </a:br>
            <a:r>
              <a:rPr lang="en-US" sz="700" i="1">
                <a:solidFill>
                  <a:schemeClr val="tx1"/>
                </a:solidFill>
                <a:latin typeface="Manrope" pitchFamily="2" charset="0"/>
              </a:rPr>
              <a:t>100% OSS</a:t>
            </a:r>
            <a:endParaRPr lang="en-US" sz="900" i="1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8B48D0-EC2B-86D3-9E34-D5E14D0C4D9B}"/>
              </a:ext>
            </a:extLst>
          </p:cNvPr>
          <p:cNvSpPr/>
          <p:nvPr/>
        </p:nvSpPr>
        <p:spPr>
          <a:xfrm>
            <a:off x="3606548" y="5681152"/>
            <a:ext cx="900000" cy="36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02" tIns="43201" rIns="86402" bIns="43201" rtlCol="0" anchor="ctr"/>
          <a:lstStyle/>
          <a:p>
            <a:pPr algn="ctr"/>
            <a:r>
              <a:rPr lang="en-US" sz="700">
                <a:solidFill>
                  <a:schemeClr val="tx1"/>
                </a:solidFill>
                <a:latin typeface="Manrope"/>
              </a:rPr>
              <a:t>Enablement Services 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7EAD01C-EC52-E80C-6FC8-B3766F10E5CB}"/>
              </a:ext>
            </a:extLst>
          </p:cNvPr>
          <p:cNvSpPr/>
          <p:nvPr/>
        </p:nvSpPr>
        <p:spPr>
          <a:xfrm>
            <a:off x="3617328" y="4174599"/>
            <a:ext cx="2872489" cy="121673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KITs</a:t>
            </a:r>
          </a:p>
        </p:txBody>
      </p:sp>
      <p:cxnSp>
        <p:nvCxnSpPr>
          <p:cNvPr id="236" name="Gerade Verbindung mit Pfeil 235">
            <a:extLst>
              <a:ext uri="{FF2B5EF4-FFF2-40B4-BE49-F238E27FC236}">
                <a16:creationId xmlns:a16="http://schemas.microsoft.com/office/drawing/2014/main" id="{B4E3151B-479C-78B4-EE04-BBA4500DB42E}"/>
              </a:ext>
            </a:extLst>
          </p:cNvPr>
          <p:cNvCxnSpPr>
            <a:cxnSpLocks/>
          </p:cNvCxnSpPr>
          <p:nvPr/>
        </p:nvCxnSpPr>
        <p:spPr>
          <a:xfrm>
            <a:off x="8115718" y="2966095"/>
            <a:ext cx="0" cy="28174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0DE507C3-502F-A0F7-FD6A-347148A5879B}"/>
              </a:ext>
            </a:extLst>
          </p:cNvPr>
          <p:cNvSpPr txBox="1"/>
          <p:nvPr/>
        </p:nvSpPr>
        <p:spPr>
          <a:xfrm>
            <a:off x="4514447" y="5897488"/>
            <a:ext cx="1075370" cy="1328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en-US" sz="700" i="1" dirty="0">
                <a:latin typeface="Manrope" pitchFamily="2" charset="0"/>
              </a:rPr>
              <a:t>Integrate</a:t>
            </a:r>
          </a:p>
        </p:txBody>
      </p:sp>
      <p:sp>
        <p:nvSpPr>
          <p:cNvPr id="12" name="Rechteck 4">
            <a:extLst>
              <a:ext uri="{FF2B5EF4-FFF2-40B4-BE49-F238E27FC236}">
                <a16:creationId xmlns:a16="http://schemas.microsoft.com/office/drawing/2014/main" id="{C07B0763-20F7-1699-7DE9-C3B83CBF6D9C}"/>
              </a:ext>
            </a:extLst>
          </p:cNvPr>
          <p:cNvSpPr/>
          <p:nvPr/>
        </p:nvSpPr>
        <p:spPr>
          <a:xfrm>
            <a:off x="5589817" y="5681152"/>
            <a:ext cx="900000" cy="36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Manrope"/>
              </a:rPr>
              <a:t>Core / Onboarding </a:t>
            </a:r>
            <a:br>
              <a:rPr lang="en-US" sz="700" dirty="0">
                <a:latin typeface="Manrope" pitchFamily="2" charset="0"/>
              </a:rPr>
            </a:br>
            <a:r>
              <a:rPr lang="en-US" sz="700" dirty="0">
                <a:solidFill>
                  <a:schemeClr val="tx1"/>
                </a:solidFill>
                <a:latin typeface="Manrope"/>
              </a:rPr>
              <a:t>Service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9EB991A-656D-3BD5-411F-91FF207A36E3}"/>
              </a:ext>
            </a:extLst>
          </p:cNvPr>
          <p:cNvSpPr/>
          <p:nvPr/>
        </p:nvSpPr>
        <p:spPr>
          <a:xfrm>
            <a:off x="1776982" y="980039"/>
            <a:ext cx="7382083" cy="158751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Manrope" pitchFamily="2" charset="0"/>
              </a:rPr>
              <a:t>Data Space Governance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3E5E5DF-779C-AF49-F9C5-455B5BFAB2E8}"/>
              </a:ext>
            </a:extLst>
          </p:cNvPr>
          <p:cNvSpPr txBox="1"/>
          <p:nvPr/>
        </p:nvSpPr>
        <p:spPr>
          <a:xfrm>
            <a:off x="6647516" y="1613009"/>
            <a:ext cx="676844" cy="12453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ctr"/>
            <a:r>
              <a:rPr lang="en-US" sz="700" i="1">
                <a:latin typeface="Manrope" pitchFamily="2" charset="0"/>
              </a:rPr>
              <a:t>Basis </a:t>
            </a:r>
            <a:br>
              <a:rPr lang="en-US" sz="700" i="1">
                <a:latin typeface="Manrope" pitchFamily="2" charset="0"/>
              </a:rPr>
            </a:br>
            <a:r>
              <a:rPr lang="en-US" sz="700" i="1">
                <a:latin typeface="Manrope" pitchFamily="2" charset="0"/>
              </a:rPr>
              <a:t>for</a:t>
            </a: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6AB976E3-5DCE-706D-E947-909D7894441F}"/>
              </a:ext>
            </a:extLst>
          </p:cNvPr>
          <p:cNvCxnSpPr>
            <a:cxnSpLocks/>
          </p:cNvCxnSpPr>
          <p:nvPr/>
        </p:nvCxnSpPr>
        <p:spPr>
          <a:xfrm>
            <a:off x="8115718" y="3533264"/>
            <a:ext cx="0" cy="22690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2A52C773-C1C3-5CFE-8E09-C763F0CBD048}"/>
              </a:ext>
            </a:extLst>
          </p:cNvPr>
          <p:cNvCxnSpPr>
            <a:cxnSpLocks/>
          </p:cNvCxnSpPr>
          <p:nvPr/>
        </p:nvCxnSpPr>
        <p:spPr>
          <a:xfrm flipH="1">
            <a:off x="7976397" y="2237941"/>
            <a:ext cx="665116" cy="247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FCBDBE6A-F77F-89F6-33C1-59577FCA028C}"/>
              </a:ext>
            </a:extLst>
          </p:cNvPr>
          <p:cNvGrpSpPr/>
          <p:nvPr/>
        </p:nvGrpSpPr>
        <p:grpSpPr>
          <a:xfrm>
            <a:off x="7588955" y="1244256"/>
            <a:ext cx="1440000" cy="1243408"/>
            <a:chOff x="7588955" y="1047611"/>
            <a:chExt cx="1440000" cy="1243408"/>
          </a:xfrm>
        </p:grpSpPr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3265F6B8-9051-F4DC-4E4A-FC07F3EE7B5B}"/>
                </a:ext>
              </a:extLst>
            </p:cNvPr>
            <p:cNvSpPr/>
            <p:nvPr/>
          </p:nvSpPr>
          <p:spPr>
            <a:xfrm>
              <a:off x="7588955" y="1047611"/>
              <a:ext cx="1440000" cy="124340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  <a:t>Conformity Assessment</a:t>
              </a:r>
              <a:b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</a:br>
              <a: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  <a:t>Framework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39A105BB-33DC-70CE-0FFF-FF9DB8814FA1}"/>
                </a:ext>
              </a:extLst>
            </p:cNvPr>
            <p:cNvSpPr/>
            <p:nvPr/>
          </p:nvSpPr>
          <p:spPr>
            <a:xfrm>
              <a:off x="7696655" y="1644449"/>
              <a:ext cx="1224600" cy="2520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Test Procedures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21EF0C02-C746-30F9-E248-EC98FDD35E25}"/>
                </a:ext>
              </a:extLst>
            </p:cNvPr>
            <p:cNvSpPr/>
            <p:nvPr/>
          </p:nvSpPr>
          <p:spPr>
            <a:xfrm>
              <a:off x="7697492" y="1356757"/>
              <a:ext cx="1222927" cy="2520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Certification Catalogue </a:t>
              </a:r>
              <a:br>
                <a:rPr lang="en-US" sz="700">
                  <a:solidFill>
                    <a:schemeClr val="tx1"/>
                  </a:solidFill>
                  <a:latin typeface="Manrope" pitchFamily="2" charset="0"/>
                </a:rPr>
              </a:br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&amp; Handbook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B501FC79-A83B-F0C3-5787-76B9A3E8E4D6}"/>
                </a:ext>
              </a:extLst>
            </p:cNvPr>
            <p:cNvSpPr/>
            <p:nvPr/>
          </p:nvSpPr>
          <p:spPr>
            <a:xfrm>
              <a:off x="7696655" y="1933030"/>
              <a:ext cx="1224600" cy="2520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Certificates</a:t>
              </a:r>
            </a:p>
          </p:txBody>
        </p:sp>
      </p:grp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2A253320-70A5-016F-E4F6-1017A068C17F}"/>
              </a:ext>
            </a:extLst>
          </p:cNvPr>
          <p:cNvCxnSpPr>
            <a:cxnSpLocks/>
            <a:stCxn id="47" idx="3"/>
            <a:endCxn id="50" idx="1"/>
          </p:cNvCxnSpPr>
          <p:nvPr/>
        </p:nvCxnSpPr>
        <p:spPr>
          <a:xfrm flipV="1">
            <a:off x="6046962" y="1865960"/>
            <a:ext cx="1541993" cy="42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34BA86F6-F417-5BFB-36B8-E86F2E6D22B4}"/>
              </a:ext>
            </a:extLst>
          </p:cNvPr>
          <p:cNvCxnSpPr>
            <a:cxnSpLocks/>
            <a:stCxn id="27" idx="3"/>
            <a:endCxn id="47" idx="1"/>
          </p:cNvCxnSpPr>
          <p:nvPr/>
        </p:nvCxnSpPr>
        <p:spPr>
          <a:xfrm>
            <a:off x="3744956" y="1866382"/>
            <a:ext cx="86200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0FE7DD41-21F2-5E14-2CB9-15112AF51D3C}"/>
              </a:ext>
            </a:extLst>
          </p:cNvPr>
          <p:cNvSpPr txBox="1"/>
          <p:nvPr/>
        </p:nvSpPr>
        <p:spPr>
          <a:xfrm>
            <a:off x="3916137" y="1613009"/>
            <a:ext cx="519644" cy="246105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ctr"/>
            <a:r>
              <a:rPr lang="en-US" sz="700" i="1">
                <a:latin typeface="Manrope" pitchFamily="2" charset="0"/>
              </a:rPr>
              <a:t>May </a:t>
            </a:r>
            <a:br>
              <a:rPr lang="en-US" sz="700" i="1">
                <a:latin typeface="Manrope" pitchFamily="2" charset="0"/>
              </a:rPr>
            </a:br>
            <a:r>
              <a:rPr lang="en-US" sz="700" i="1">
                <a:latin typeface="Manrope" pitchFamily="2" charset="0"/>
              </a:rPr>
              <a:t>influenc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57C1B610-D3A4-B359-1137-56EED0094B6F}"/>
              </a:ext>
            </a:extLst>
          </p:cNvPr>
          <p:cNvSpPr/>
          <p:nvPr/>
        </p:nvSpPr>
        <p:spPr>
          <a:xfrm>
            <a:off x="1776982" y="2595864"/>
            <a:ext cx="4797954" cy="370908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Life Cycle Management</a:t>
            </a:r>
            <a:br>
              <a:rPr lang="en-US" sz="945" b="1">
                <a:solidFill>
                  <a:schemeClr val="tx1"/>
                </a:solidFill>
                <a:latin typeface="Manrope" pitchFamily="2" charset="0"/>
              </a:rPr>
            </a:br>
            <a:r>
              <a:rPr lang="en-US" sz="756" i="1">
                <a:solidFill>
                  <a:schemeClr val="tx1"/>
                </a:solidFill>
                <a:latin typeface="Manrope" pitchFamily="2" charset="0"/>
              </a:rPr>
              <a:t>Ensuring Compatibility &amp; Applicability 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9FC734C8-35E8-C73A-4069-418B0E47ABB6}"/>
              </a:ext>
            </a:extLst>
          </p:cNvPr>
          <p:cNvSpPr/>
          <p:nvPr/>
        </p:nvSpPr>
        <p:spPr>
          <a:xfrm rot="16200000">
            <a:off x="1344983" y="4580608"/>
            <a:ext cx="1620000" cy="756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Eclipse Tractus-X Project</a:t>
            </a:r>
            <a:endParaRPr lang="en-US" sz="945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53BF607-FDC0-FE6E-541D-6FB213B49AE6}"/>
              </a:ext>
            </a:extLst>
          </p:cNvPr>
          <p:cNvSpPr/>
          <p:nvPr/>
        </p:nvSpPr>
        <p:spPr>
          <a:xfrm>
            <a:off x="7695055" y="5173526"/>
            <a:ext cx="1454604" cy="2520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 dirty="0">
                <a:solidFill>
                  <a:schemeClr val="bg1">
                    <a:lumMod val="85000"/>
                  </a:schemeClr>
                </a:solidFill>
                <a:latin typeface="Manrope"/>
              </a:rPr>
              <a:t>Business Applications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26D9139C-F930-F920-0688-CCADEBAAEC8D}"/>
              </a:ext>
            </a:extLst>
          </p:cNvPr>
          <p:cNvSpPr/>
          <p:nvPr/>
        </p:nvSpPr>
        <p:spPr>
          <a:xfrm>
            <a:off x="9978764" y="956036"/>
            <a:ext cx="1413649" cy="518714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Manrope" pitchFamily="2" charset="0"/>
              </a:rPr>
              <a:t>Collaborations</a:t>
            </a:r>
            <a:br>
              <a:rPr lang="en-US" sz="1134" b="1">
                <a:solidFill>
                  <a:schemeClr val="tx1"/>
                </a:solidFill>
                <a:latin typeface="Manrope" pitchFamily="2" charset="0"/>
              </a:rPr>
            </a:br>
            <a:br>
              <a:rPr lang="en-US" sz="1134" b="1">
                <a:solidFill>
                  <a:schemeClr val="tx1"/>
                </a:solidFill>
                <a:latin typeface="Manrope" pitchFamily="2" charset="0"/>
              </a:rPr>
            </a:br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Trust Partners</a:t>
            </a:r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7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Scalability / Interoperability Partners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3EC5F1A1-331A-F7F1-C5FE-D1576EEE0792}"/>
              </a:ext>
            </a:extLst>
          </p:cNvPr>
          <p:cNvSpPr/>
          <p:nvPr/>
        </p:nvSpPr>
        <p:spPr>
          <a:xfrm>
            <a:off x="10090297" y="1480576"/>
            <a:ext cx="1190583" cy="5102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Gaia-X</a:t>
            </a:r>
            <a:br>
              <a:rPr lang="en-US" sz="756">
                <a:solidFill>
                  <a:schemeClr val="tx1"/>
                </a:solidFill>
                <a:latin typeface="Manrope" pitchFamily="2" charset="0"/>
              </a:rPr>
            </a:br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Trust Framework / Clearing House</a:t>
            </a:r>
            <a:endParaRPr lang="en-US" sz="756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9D21845A-D42D-895E-BF90-40FB88EA425B}"/>
              </a:ext>
            </a:extLst>
          </p:cNvPr>
          <p:cNvSpPr/>
          <p:nvPr/>
        </p:nvSpPr>
        <p:spPr>
          <a:xfrm>
            <a:off x="10090297" y="2013476"/>
            <a:ext cx="1190583" cy="5102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IDSA</a:t>
            </a:r>
          </a:p>
          <a:p>
            <a:pPr algn="ctr"/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Data Space Protocol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DF4ED67B-E1C4-852B-1ECC-41C550B4A185}"/>
              </a:ext>
            </a:extLst>
          </p:cNvPr>
          <p:cNvSpPr/>
          <p:nvPr/>
        </p:nvSpPr>
        <p:spPr>
          <a:xfrm>
            <a:off x="10090297" y="3519304"/>
            <a:ext cx="1190583" cy="5102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IDTA</a:t>
            </a:r>
          </a:p>
          <a:p>
            <a:pPr algn="ctr"/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Asset Administration Shell</a:t>
            </a:r>
            <a:endParaRPr lang="en-US" sz="756">
              <a:solidFill>
                <a:schemeClr val="tx1"/>
              </a:solidFill>
              <a:latin typeface="Manrope" pitchFamily="2" charset="0"/>
            </a:endParaRP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4F8344E6-E497-3679-ECAB-274055766617}"/>
              </a:ext>
            </a:extLst>
          </p:cNvPr>
          <p:cNvCxnSpPr>
            <a:cxnSpLocks/>
            <a:stCxn id="6" idx="3"/>
            <a:endCxn id="63" idx="1"/>
          </p:cNvCxnSpPr>
          <p:nvPr/>
        </p:nvCxnSpPr>
        <p:spPr>
          <a:xfrm flipV="1">
            <a:off x="6574936" y="4956211"/>
            <a:ext cx="1014019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feld 106">
            <a:extLst>
              <a:ext uri="{FF2B5EF4-FFF2-40B4-BE49-F238E27FC236}">
                <a16:creationId xmlns:a16="http://schemas.microsoft.com/office/drawing/2014/main" id="{177615C1-EB11-2E9B-E066-6D74978B37A1}"/>
              </a:ext>
            </a:extLst>
          </p:cNvPr>
          <p:cNvSpPr txBox="1"/>
          <p:nvPr/>
        </p:nvSpPr>
        <p:spPr>
          <a:xfrm>
            <a:off x="6372068" y="4726578"/>
            <a:ext cx="1164154" cy="1328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lang="en-US" sz="756" i="1">
                <a:latin typeface="Manrope" pitchFamily="2" charset="0"/>
              </a:rPr>
              <a:t>Based on,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Use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DFF4B1D1-E6DD-743D-A15A-34F35B2A3CF1}"/>
              </a:ext>
            </a:extLst>
          </p:cNvPr>
          <p:cNvSpPr/>
          <p:nvPr/>
        </p:nvSpPr>
        <p:spPr>
          <a:xfrm>
            <a:off x="7695055" y="4626704"/>
            <a:ext cx="1454604" cy="2520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>
                <a:solidFill>
                  <a:schemeClr val="bg1">
                    <a:lumMod val="85000"/>
                  </a:schemeClr>
                </a:solidFill>
                <a:latin typeface="Manrope"/>
              </a:rPr>
              <a:t>Core Services (A/B)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59951EE0-597B-A121-F376-8E06C2128B76}"/>
              </a:ext>
            </a:extLst>
          </p:cNvPr>
          <p:cNvSpPr/>
          <p:nvPr/>
        </p:nvSpPr>
        <p:spPr>
          <a:xfrm>
            <a:off x="7695055" y="4900115"/>
            <a:ext cx="1454604" cy="2520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>
                <a:solidFill>
                  <a:schemeClr val="bg1">
                    <a:lumMod val="85000"/>
                  </a:schemeClr>
                </a:solidFill>
                <a:latin typeface="Manrope"/>
              </a:rPr>
              <a:t>Onboarding Services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2C5840A-952C-1583-07E0-048727BC9C2D}"/>
              </a:ext>
            </a:extLst>
          </p:cNvPr>
          <p:cNvSpPr/>
          <p:nvPr/>
        </p:nvSpPr>
        <p:spPr>
          <a:xfrm>
            <a:off x="7695055" y="5446937"/>
            <a:ext cx="1454604" cy="2520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>
                <a:solidFill>
                  <a:schemeClr val="bg1">
                    <a:lumMod val="85000"/>
                  </a:schemeClr>
                </a:solidFill>
                <a:latin typeface="Manrope"/>
              </a:rPr>
              <a:t>Enablement Servic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EBEC707-9F86-A4E2-6A3A-E70B00E67441}"/>
              </a:ext>
            </a:extLst>
          </p:cNvPr>
          <p:cNvSpPr/>
          <p:nvPr/>
        </p:nvSpPr>
        <p:spPr>
          <a:xfrm>
            <a:off x="7695055" y="5720347"/>
            <a:ext cx="1454604" cy="2520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>
                <a:solidFill>
                  <a:schemeClr val="bg1">
                    <a:lumMod val="85000"/>
                  </a:schemeClr>
                </a:solidFill>
                <a:latin typeface="Manrope"/>
              </a:rPr>
              <a:t>Advisory Services</a:t>
            </a: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67EC5107-8C35-C467-0FA6-7126CDDC2516}"/>
              </a:ext>
            </a:extLst>
          </p:cNvPr>
          <p:cNvCxnSpPr>
            <a:cxnSpLocks/>
          </p:cNvCxnSpPr>
          <p:nvPr/>
        </p:nvCxnSpPr>
        <p:spPr>
          <a:xfrm flipH="1">
            <a:off x="4792122" y="3014660"/>
            <a:ext cx="0" cy="75456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feld 120">
            <a:extLst>
              <a:ext uri="{FF2B5EF4-FFF2-40B4-BE49-F238E27FC236}">
                <a16:creationId xmlns:a16="http://schemas.microsoft.com/office/drawing/2014/main" id="{BF9A96C6-9F4C-D4FF-FE83-7BBA52277290}"/>
              </a:ext>
            </a:extLst>
          </p:cNvPr>
          <p:cNvSpPr txBox="1"/>
          <p:nvPr/>
        </p:nvSpPr>
        <p:spPr>
          <a:xfrm>
            <a:off x="4042626" y="3221169"/>
            <a:ext cx="630307" cy="36919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756" i="1">
                <a:latin typeface="Manrope" pitchFamily="2" charset="0"/>
              </a:rPr>
              <a:t>Sets mandatory 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Requirements &amp; 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Standards</a:t>
            </a:r>
          </a:p>
        </p:txBody>
      </p: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48141E44-B55C-A2D1-1C27-1D5A6291B471}"/>
              </a:ext>
            </a:extLst>
          </p:cNvPr>
          <p:cNvCxnSpPr>
            <a:cxnSpLocks/>
          </p:cNvCxnSpPr>
          <p:nvPr/>
        </p:nvCxnSpPr>
        <p:spPr>
          <a:xfrm flipV="1">
            <a:off x="4909493" y="3014659"/>
            <a:ext cx="0" cy="75456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feld 122">
            <a:extLst>
              <a:ext uri="{FF2B5EF4-FFF2-40B4-BE49-F238E27FC236}">
                <a16:creationId xmlns:a16="http://schemas.microsoft.com/office/drawing/2014/main" id="{E2664ECE-D18D-F7E0-C576-EFC9FED54A4C}"/>
              </a:ext>
            </a:extLst>
          </p:cNvPr>
          <p:cNvSpPr txBox="1"/>
          <p:nvPr/>
        </p:nvSpPr>
        <p:spPr>
          <a:xfrm>
            <a:off x="4970288" y="3221169"/>
            <a:ext cx="787732" cy="38303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US" sz="756" i="1">
                <a:latin typeface="Manrope" pitchFamily="2" charset="0"/>
              </a:rPr>
              <a:t>Provide 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Feedback &amp; new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Requirements</a:t>
            </a:r>
          </a:p>
        </p:txBody>
      </p: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68978DBF-BF1E-00E9-AC21-0C648EA63C5E}"/>
              </a:ext>
            </a:extLst>
          </p:cNvPr>
          <p:cNvCxnSpPr>
            <a:cxnSpLocks/>
          </p:cNvCxnSpPr>
          <p:nvPr/>
        </p:nvCxnSpPr>
        <p:spPr>
          <a:xfrm flipV="1">
            <a:off x="8595078" y="3014659"/>
            <a:ext cx="0" cy="75456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feld 133">
            <a:extLst>
              <a:ext uri="{FF2B5EF4-FFF2-40B4-BE49-F238E27FC236}">
                <a16:creationId xmlns:a16="http://schemas.microsoft.com/office/drawing/2014/main" id="{F4C87CBB-6809-529F-2AB5-D17364C529C9}"/>
              </a:ext>
            </a:extLst>
          </p:cNvPr>
          <p:cNvSpPr txBox="1"/>
          <p:nvPr/>
        </p:nvSpPr>
        <p:spPr>
          <a:xfrm>
            <a:off x="8692272" y="3568141"/>
            <a:ext cx="614912" cy="16117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756" i="1">
                <a:latin typeface="Manrope" pitchFamily="2" charset="0"/>
              </a:rPr>
              <a:t>Adheres to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A1C98ADC-4956-A9ED-1686-4DE89E7BE6E6}"/>
              </a:ext>
            </a:extLst>
          </p:cNvPr>
          <p:cNvCxnSpPr>
            <a:cxnSpLocks/>
            <a:stCxn id="6" idx="1"/>
            <a:endCxn id="96" idx="2"/>
          </p:cNvCxnSpPr>
          <p:nvPr/>
        </p:nvCxnSpPr>
        <p:spPr>
          <a:xfrm flipH="1" flipV="1">
            <a:off x="2532983" y="4958608"/>
            <a:ext cx="980453" cy="28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feld 135">
            <a:extLst>
              <a:ext uri="{FF2B5EF4-FFF2-40B4-BE49-F238E27FC236}">
                <a16:creationId xmlns:a16="http://schemas.microsoft.com/office/drawing/2014/main" id="{214BDA35-4D5D-038A-89E4-E512B689A744}"/>
              </a:ext>
            </a:extLst>
          </p:cNvPr>
          <p:cNvSpPr txBox="1"/>
          <p:nvPr/>
        </p:nvSpPr>
        <p:spPr>
          <a:xfrm>
            <a:off x="2610568" y="4707065"/>
            <a:ext cx="702206" cy="9802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756" i="1" dirty="0">
                <a:latin typeface="Manrope" pitchFamily="2" charset="0"/>
              </a:rPr>
              <a:t>Enables Open </a:t>
            </a:r>
          </a:p>
          <a:p>
            <a:r>
              <a:rPr lang="en-US" sz="756" i="1" dirty="0">
                <a:latin typeface="Manrope" pitchFamily="2" charset="0"/>
              </a:rPr>
              <a:t>Collaboration </a:t>
            </a:r>
          </a:p>
          <a:p>
            <a:r>
              <a:rPr lang="en-US" sz="756" i="1" dirty="0">
                <a:latin typeface="Manrope" pitchFamily="2" charset="0"/>
              </a:rPr>
              <a:t>&amp; Development </a:t>
            </a: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A814AC12-A448-8CC8-054E-5AC7E797E241}"/>
              </a:ext>
            </a:extLst>
          </p:cNvPr>
          <p:cNvSpPr txBox="1"/>
          <p:nvPr/>
        </p:nvSpPr>
        <p:spPr>
          <a:xfrm>
            <a:off x="2194380" y="3221169"/>
            <a:ext cx="702198" cy="387576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>
              <a:defRPr sz="756" i="1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Sponsors,</a:t>
            </a:r>
          </a:p>
          <a:p>
            <a:r>
              <a:rPr lang="en-US">
                <a:solidFill>
                  <a:schemeClr val="tx1"/>
                </a:solidFill>
              </a:rPr>
              <a:t>promotes and</a:t>
            </a:r>
          </a:p>
          <a:p>
            <a:r>
              <a:rPr lang="en-US">
                <a:solidFill>
                  <a:schemeClr val="tx1"/>
                </a:solidFill>
              </a:rPr>
              <a:t>coordinates</a:t>
            </a:r>
          </a:p>
        </p:txBody>
      </p: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BE685329-D863-532F-4CF1-5EFD2EDCE952}"/>
              </a:ext>
            </a:extLst>
          </p:cNvPr>
          <p:cNvCxnSpPr>
            <a:cxnSpLocks/>
          </p:cNvCxnSpPr>
          <p:nvPr/>
        </p:nvCxnSpPr>
        <p:spPr>
          <a:xfrm flipH="1">
            <a:off x="9270600" y="1428484"/>
            <a:ext cx="64671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D01BBF79-4BCD-92BD-564C-50858761B5D8}"/>
              </a:ext>
            </a:extLst>
          </p:cNvPr>
          <p:cNvCxnSpPr>
            <a:cxnSpLocks/>
          </p:cNvCxnSpPr>
          <p:nvPr/>
        </p:nvCxnSpPr>
        <p:spPr>
          <a:xfrm>
            <a:off x="9302403" y="2225039"/>
            <a:ext cx="61491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!!ass">
            <a:extLst>
              <a:ext uri="{FF2B5EF4-FFF2-40B4-BE49-F238E27FC236}">
                <a16:creationId xmlns:a16="http://schemas.microsoft.com/office/drawing/2014/main" id="{6AD54273-5BB3-D14A-9D04-57643D6417D5}"/>
              </a:ext>
            </a:extLst>
          </p:cNvPr>
          <p:cNvSpPr/>
          <p:nvPr/>
        </p:nvSpPr>
        <p:spPr>
          <a:xfrm>
            <a:off x="164286" y="837037"/>
            <a:ext cx="9237431" cy="5412727"/>
          </a:xfrm>
          <a:prstGeom prst="rect">
            <a:avLst/>
          </a:prstGeom>
          <a:noFill/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34" b="1">
              <a:solidFill>
                <a:schemeClr val="bg1"/>
              </a:solidFill>
              <a:latin typeface="Manrope" pitchFamily="2" charset="0"/>
            </a:endParaRPr>
          </a:p>
        </p:txBody>
      </p:sp>
      <p:cxnSp>
        <p:nvCxnSpPr>
          <p:cNvPr id="171" name="Gerade Verbindung mit Pfeil 170">
            <a:extLst>
              <a:ext uri="{FF2B5EF4-FFF2-40B4-BE49-F238E27FC236}">
                <a16:creationId xmlns:a16="http://schemas.microsoft.com/office/drawing/2014/main" id="{34176A40-D4C9-139C-1FC6-7403D898ED81}"/>
              </a:ext>
            </a:extLst>
          </p:cNvPr>
          <p:cNvCxnSpPr>
            <a:cxnSpLocks/>
            <a:endCxn id="96" idx="3"/>
          </p:cNvCxnSpPr>
          <p:nvPr/>
        </p:nvCxnSpPr>
        <p:spPr>
          <a:xfrm>
            <a:off x="2154983" y="3014659"/>
            <a:ext cx="0" cy="113394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73F4A9FF-EF45-FBD3-4C82-5535B84F048A}"/>
              </a:ext>
            </a:extLst>
          </p:cNvPr>
          <p:cNvCxnSpPr>
            <a:cxnSpLocks/>
            <a:stCxn id="12" idx="1"/>
            <a:endCxn id="7" idx="3"/>
          </p:cNvCxnSpPr>
          <p:nvPr/>
        </p:nvCxnSpPr>
        <p:spPr>
          <a:xfrm flipH="1">
            <a:off x="4506548" y="5861152"/>
            <a:ext cx="1083269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echteck 178">
            <a:extLst>
              <a:ext uri="{FF2B5EF4-FFF2-40B4-BE49-F238E27FC236}">
                <a16:creationId xmlns:a16="http://schemas.microsoft.com/office/drawing/2014/main" id="{05F5C17B-7D44-BF5D-70B6-002F22CAD320}"/>
              </a:ext>
            </a:extLst>
          </p:cNvPr>
          <p:cNvSpPr/>
          <p:nvPr/>
        </p:nvSpPr>
        <p:spPr>
          <a:xfrm>
            <a:off x="7845718" y="3265941"/>
            <a:ext cx="540000" cy="252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CAB</a:t>
            </a:r>
          </a:p>
        </p:txBody>
      </p:sp>
      <p:sp>
        <p:nvSpPr>
          <p:cNvPr id="186" name="Textfeld 185">
            <a:extLst>
              <a:ext uri="{FF2B5EF4-FFF2-40B4-BE49-F238E27FC236}">
                <a16:creationId xmlns:a16="http://schemas.microsoft.com/office/drawing/2014/main" id="{05A58065-F684-C3D6-E811-275D921BEF16}"/>
              </a:ext>
            </a:extLst>
          </p:cNvPr>
          <p:cNvSpPr txBox="1"/>
          <p:nvPr/>
        </p:nvSpPr>
        <p:spPr>
          <a:xfrm>
            <a:off x="7408828" y="3065752"/>
            <a:ext cx="614912" cy="16117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lang="en-US" sz="756" i="1">
                <a:latin typeface="Manrope" pitchFamily="2" charset="0"/>
              </a:rPr>
              <a:t>Delegates 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Conformity Assessment</a:t>
            </a:r>
          </a:p>
        </p:txBody>
      </p:sp>
      <p:sp>
        <p:nvSpPr>
          <p:cNvPr id="187" name="Textfeld 186">
            <a:extLst>
              <a:ext uri="{FF2B5EF4-FFF2-40B4-BE49-F238E27FC236}">
                <a16:creationId xmlns:a16="http://schemas.microsoft.com/office/drawing/2014/main" id="{633464F7-7F9C-FA4B-6877-5671FAB8BAB1}"/>
              </a:ext>
            </a:extLst>
          </p:cNvPr>
          <p:cNvSpPr txBox="1"/>
          <p:nvPr/>
        </p:nvSpPr>
        <p:spPr>
          <a:xfrm>
            <a:off x="7408828" y="3604203"/>
            <a:ext cx="614912" cy="16117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lang="en-US" sz="756" i="1">
                <a:latin typeface="Manrope" pitchFamily="2" charset="0"/>
              </a:rPr>
              <a:t>Certifies</a:t>
            </a:r>
          </a:p>
        </p:txBody>
      </p:sp>
      <p:cxnSp>
        <p:nvCxnSpPr>
          <p:cNvPr id="189" name="Gewinkelte Verbindung 188">
            <a:extLst>
              <a:ext uri="{FF2B5EF4-FFF2-40B4-BE49-F238E27FC236}">
                <a16:creationId xmlns:a16="http://schemas.microsoft.com/office/drawing/2014/main" id="{6C9DB1D6-B692-9A0E-A9F0-69890A9208DA}"/>
              </a:ext>
            </a:extLst>
          </p:cNvPr>
          <p:cNvCxnSpPr>
            <a:cxnSpLocks/>
            <a:stCxn id="7" idx="0"/>
            <a:endCxn id="8" idx="2"/>
          </p:cNvCxnSpPr>
          <p:nvPr/>
        </p:nvCxnSpPr>
        <p:spPr>
          <a:xfrm rot="5400000" flipH="1" flipV="1">
            <a:off x="4410151" y="5037731"/>
            <a:ext cx="289819" cy="997025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winkelte Verbindung 189">
            <a:extLst>
              <a:ext uri="{FF2B5EF4-FFF2-40B4-BE49-F238E27FC236}">
                <a16:creationId xmlns:a16="http://schemas.microsoft.com/office/drawing/2014/main" id="{85C06ED0-0049-FA40-F4B3-840ED150FA88}"/>
              </a:ext>
            </a:extLst>
          </p:cNvPr>
          <p:cNvCxnSpPr>
            <a:cxnSpLocks/>
            <a:stCxn id="12" idx="0"/>
            <a:endCxn id="8" idx="2"/>
          </p:cNvCxnSpPr>
          <p:nvPr/>
        </p:nvCxnSpPr>
        <p:spPr>
          <a:xfrm rot="16200000" flipV="1">
            <a:off x="5401786" y="5043121"/>
            <a:ext cx="289819" cy="98624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Textfeld 194">
            <a:extLst>
              <a:ext uri="{FF2B5EF4-FFF2-40B4-BE49-F238E27FC236}">
                <a16:creationId xmlns:a16="http://schemas.microsoft.com/office/drawing/2014/main" id="{85236290-E184-A899-623A-E5FDCD3B8C5D}"/>
              </a:ext>
            </a:extLst>
          </p:cNvPr>
          <p:cNvSpPr txBox="1"/>
          <p:nvPr/>
        </p:nvSpPr>
        <p:spPr>
          <a:xfrm>
            <a:off x="4476526" y="5536241"/>
            <a:ext cx="1164154" cy="1328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en-US" sz="700" i="1" dirty="0">
                <a:latin typeface="Manrope" pitchFamily="2" charset="0"/>
              </a:rPr>
              <a:t>Utilizes</a:t>
            </a:r>
          </a:p>
        </p:txBody>
      </p: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03FFBAB0-C734-A163-206D-94ADA8E1F3B6}"/>
              </a:ext>
            </a:extLst>
          </p:cNvPr>
          <p:cNvGrpSpPr/>
          <p:nvPr/>
        </p:nvGrpSpPr>
        <p:grpSpPr>
          <a:xfrm>
            <a:off x="4606962" y="1244678"/>
            <a:ext cx="1440000" cy="1243408"/>
            <a:chOff x="4096570" y="1048033"/>
            <a:chExt cx="1440000" cy="1243408"/>
          </a:xfrm>
        </p:grpSpPr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02CDD8A0-C2D9-30AC-28CE-8B51C7E4CF1D}"/>
                </a:ext>
              </a:extLst>
            </p:cNvPr>
            <p:cNvSpPr/>
            <p:nvPr/>
          </p:nvSpPr>
          <p:spPr>
            <a:xfrm>
              <a:off x="4096570" y="1048033"/>
              <a:ext cx="1440000" cy="124340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  <a:t>Standardization</a:t>
              </a:r>
              <a:b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</a:br>
              <a: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  <a:t>Framework</a:t>
              </a: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BB87BDA2-3F7F-D93D-314B-1BEE9002602B}"/>
                </a:ext>
              </a:extLst>
            </p:cNvPr>
            <p:cNvSpPr/>
            <p:nvPr/>
          </p:nvSpPr>
          <p:spPr>
            <a:xfrm>
              <a:off x="4205107" y="1357179"/>
              <a:ext cx="1222927" cy="2520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Standards</a:t>
              </a:r>
            </a:p>
          </p:txBody>
        </p:sp>
      </p:grp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30396D27-B913-53F8-4A1D-091DD87424A2}"/>
              </a:ext>
            </a:extLst>
          </p:cNvPr>
          <p:cNvGrpSpPr/>
          <p:nvPr/>
        </p:nvGrpSpPr>
        <p:grpSpPr>
          <a:xfrm>
            <a:off x="2304956" y="1244678"/>
            <a:ext cx="1440000" cy="1243408"/>
            <a:chOff x="2296888" y="1048033"/>
            <a:chExt cx="1440000" cy="1243408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4E086F68-E240-2E24-3CE6-FFF11D9E6D1F}"/>
                </a:ext>
              </a:extLst>
            </p:cNvPr>
            <p:cNvSpPr/>
            <p:nvPr/>
          </p:nvSpPr>
          <p:spPr>
            <a:xfrm>
              <a:off x="2296888" y="1048033"/>
              <a:ext cx="1440000" cy="124340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  <a:t>Normative </a:t>
              </a:r>
              <a:b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</a:br>
              <a: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  <a:t>Documents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479D4772-0799-B999-C297-A6C7DD26EB12}"/>
                </a:ext>
              </a:extLst>
            </p:cNvPr>
            <p:cNvSpPr/>
            <p:nvPr/>
          </p:nvSpPr>
          <p:spPr>
            <a:xfrm>
              <a:off x="2404588" y="1645031"/>
              <a:ext cx="1224600" cy="2520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Regulatory </a:t>
              </a:r>
              <a:br>
                <a:rPr lang="en-US" sz="700">
                  <a:solidFill>
                    <a:schemeClr val="tx1"/>
                  </a:solidFill>
                  <a:latin typeface="Manrope" pitchFamily="2" charset="0"/>
                </a:rPr>
              </a:br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Framework</a:t>
              </a: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D6C1635-FE41-A8C2-966B-A5F4A6AFBA30}"/>
                </a:ext>
              </a:extLst>
            </p:cNvPr>
            <p:cNvSpPr/>
            <p:nvPr/>
          </p:nvSpPr>
          <p:spPr>
            <a:xfrm>
              <a:off x="2405425" y="1357179"/>
              <a:ext cx="1222927" cy="2520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Architecture</a:t>
              </a:r>
              <a:br>
                <a:rPr lang="en-US" sz="700">
                  <a:solidFill>
                    <a:schemeClr val="tx1"/>
                  </a:solidFill>
                  <a:latin typeface="Manrope" pitchFamily="2" charset="0"/>
                </a:rPr>
              </a:br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Guardrails</a:t>
              </a:r>
            </a:p>
          </p:txBody>
        </p:sp>
        <p:pic>
          <p:nvPicPr>
            <p:cNvPr id="165" name="Grafik 164" descr="Dokument Silhouette">
              <a:extLst>
                <a:ext uri="{FF2B5EF4-FFF2-40B4-BE49-F238E27FC236}">
                  <a16:creationId xmlns:a16="http://schemas.microsoft.com/office/drawing/2014/main" id="{6299EE13-3776-FAA6-DD34-EFF4131993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711903" y="1943857"/>
              <a:ext cx="308580" cy="288009"/>
            </a:xfrm>
            <a:prstGeom prst="rect">
              <a:avLst/>
            </a:prstGeom>
          </p:spPr>
        </p:pic>
        <p:sp>
          <p:nvSpPr>
            <p:cNvPr id="166" name="Textfeld 165">
              <a:extLst>
                <a:ext uri="{FF2B5EF4-FFF2-40B4-BE49-F238E27FC236}">
                  <a16:creationId xmlns:a16="http://schemas.microsoft.com/office/drawing/2014/main" id="{05C5C4F8-3844-7B13-723D-98167A2A783C}"/>
                </a:ext>
              </a:extLst>
            </p:cNvPr>
            <p:cNvSpPr txBox="1"/>
            <p:nvPr/>
          </p:nvSpPr>
          <p:spPr>
            <a:xfrm>
              <a:off x="3031868" y="2026356"/>
              <a:ext cx="534123" cy="132829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700">
                  <a:latin typeface="Manrope" pitchFamily="2" charset="0"/>
                </a:rPr>
                <a:t>Operating</a:t>
              </a:r>
              <a:br>
                <a:rPr lang="en-US" sz="700">
                  <a:latin typeface="Manrope" pitchFamily="2" charset="0"/>
                </a:rPr>
              </a:br>
              <a:r>
                <a:rPr lang="en-US" sz="700">
                  <a:latin typeface="Manrope" pitchFamily="2" charset="0"/>
                </a:rPr>
                <a:t>Model</a:t>
              </a:r>
            </a:p>
          </p:txBody>
        </p:sp>
        <p:cxnSp>
          <p:nvCxnSpPr>
            <p:cNvPr id="208" name="Gewinkelte Verbindung 207">
              <a:extLst>
                <a:ext uri="{FF2B5EF4-FFF2-40B4-BE49-F238E27FC236}">
                  <a16:creationId xmlns:a16="http://schemas.microsoft.com/office/drawing/2014/main" id="{02BCB789-9AAC-846F-305B-5CBB6805C571}"/>
                </a:ext>
              </a:extLst>
            </p:cNvPr>
            <p:cNvCxnSpPr>
              <a:cxnSpLocks/>
              <a:stCxn id="165" idx="1"/>
            </p:cNvCxnSpPr>
            <p:nvPr/>
          </p:nvCxnSpPr>
          <p:spPr>
            <a:xfrm rot="10800000">
              <a:off x="2538803" y="1898010"/>
              <a:ext cx="173101" cy="189853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Textfeld 213">
            <a:extLst>
              <a:ext uri="{FF2B5EF4-FFF2-40B4-BE49-F238E27FC236}">
                <a16:creationId xmlns:a16="http://schemas.microsoft.com/office/drawing/2014/main" id="{CC5C7BD7-0D16-661F-0F0C-C34EBDD7B37C}"/>
              </a:ext>
            </a:extLst>
          </p:cNvPr>
          <p:cNvSpPr txBox="1"/>
          <p:nvPr/>
        </p:nvSpPr>
        <p:spPr>
          <a:xfrm>
            <a:off x="847584" y="6313842"/>
            <a:ext cx="1164154" cy="1328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lang="en-US" sz="756" b="1">
                <a:latin typeface="Manrope" pitchFamily="2" charset="0"/>
              </a:rPr>
              <a:t>Catena-X Data Space </a:t>
            </a:r>
            <a:r>
              <a:rPr lang="en-US" sz="756">
                <a:latin typeface="Manrope" pitchFamily="2" charset="0"/>
              </a:rPr>
              <a:t>(a.k.a. Ecosystem)</a:t>
            </a:r>
          </a:p>
        </p:txBody>
      </p:sp>
      <p:cxnSp>
        <p:nvCxnSpPr>
          <p:cNvPr id="215" name="Gerade Verbindung mit Pfeil 214">
            <a:extLst>
              <a:ext uri="{FF2B5EF4-FFF2-40B4-BE49-F238E27FC236}">
                <a16:creationId xmlns:a16="http://schemas.microsoft.com/office/drawing/2014/main" id="{11B9DC12-785B-D1FC-98AB-1F6989ECAE97}"/>
              </a:ext>
            </a:extLst>
          </p:cNvPr>
          <p:cNvCxnSpPr>
            <a:cxnSpLocks/>
          </p:cNvCxnSpPr>
          <p:nvPr/>
        </p:nvCxnSpPr>
        <p:spPr>
          <a:xfrm flipV="1">
            <a:off x="6574936" y="5091761"/>
            <a:ext cx="1014019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Textfeld 216">
            <a:extLst>
              <a:ext uri="{FF2B5EF4-FFF2-40B4-BE49-F238E27FC236}">
                <a16:creationId xmlns:a16="http://schemas.microsoft.com/office/drawing/2014/main" id="{F5EF11C5-477F-BAA2-4979-09A6673CCA95}"/>
              </a:ext>
            </a:extLst>
          </p:cNvPr>
          <p:cNvSpPr txBox="1"/>
          <p:nvPr/>
        </p:nvSpPr>
        <p:spPr>
          <a:xfrm>
            <a:off x="6372068" y="5207582"/>
            <a:ext cx="1164154" cy="1328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lang="en-US" sz="756" i="1">
                <a:latin typeface="Manrope" pitchFamily="2" charset="0"/>
              </a:rPr>
              <a:t>Industrializes, 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operates services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924167B8-8D7A-2EA5-5DCC-4B8186D0F8CF}"/>
              </a:ext>
            </a:extLst>
          </p:cNvPr>
          <p:cNvSpPr/>
          <p:nvPr/>
        </p:nvSpPr>
        <p:spPr>
          <a:xfrm>
            <a:off x="10090297" y="2546376"/>
            <a:ext cx="1190583" cy="5102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Eclipse Foundation</a:t>
            </a:r>
          </a:p>
          <a:p>
            <a:pPr algn="ctr"/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Open-Source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18AC7EB1-49D7-EFDB-B52E-0C3BB9425EAE}"/>
              </a:ext>
            </a:extLst>
          </p:cNvPr>
          <p:cNvSpPr/>
          <p:nvPr/>
        </p:nvSpPr>
        <p:spPr>
          <a:xfrm>
            <a:off x="10090297" y="4073369"/>
            <a:ext cx="1190583" cy="5102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WBCSD, GBA, …</a:t>
            </a:r>
            <a:endParaRPr lang="en-US" sz="756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BE1B4F3E-8127-5890-DE8E-234A01E96223}"/>
              </a:ext>
            </a:extLst>
          </p:cNvPr>
          <p:cNvSpPr txBox="1"/>
          <p:nvPr/>
        </p:nvSpPr>
        <p:spPr>
          <a:xfrm rot="10800000" flipV="1">
            <a:off x="9369127" y="1031111"/>
            <a:ext cx="496271" cy="36088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 anchor="t" anchorCtr="0">
            <a:noAutofit/>
          </a:bodyPr>
          <a:lstStyle/>
          <a:p>
            <a:pPr algn="ctr"/>
            <a:r>
              <a:rPr lang="en-US" sz="756" i="1">
                <a:latin typeface="Manrope" pitchFamily="2" charset="0"/>
              </a:rPr>
              <a:t>Use,</a:t>
            </a:r>
          </a:p>
          <a:p>
            <a:pPr algn="ctr"/>
            <a:r>
              <a:rPr lang="en-US" sz="756" i="1">
                <a:latin typeface="Manrope" pitchFamily="2" charset="0"/>
              </a:rPr>
              <a:t>Integrate,</a:t>
            </a:r>
          </a:p>
          <a:p>
            <a:pPr algn="ctr"/>
            <a:r>
              <a:rPr lang="en-US" sz="756" i="1">
                <a:latin typeface="Manrope" pitchFamily="2" charset="0"/>
              </a:rPr>
              <a:t>Adapt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1B96901C-8BC5-E9E9-D430-08947AE9B118}"/>
              </a:ext>
            </a:extLst>
          </p:cNvPr>
          <p:cNvSpPr txBox="1"/>
          <p:nvPr/>
        </p:nvSpPr>
        <p:spPr>
          <a:xfrm>
            <a:off x="9327943" y="1946350"/>
            <a:ext cx="578637" cy="189830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 anchor="t" anchorCtr="0">
            <a:noAutofit/>
          </a:bodyPr>
          <a:lstStyle/>
          <a:p>
            <a:pPr algn="ctr"/>
            <a:r>
              <a:rPr lang="en-US" sz="756" i="1">
                <a:latin typeface="Manrope" pitchFamily="2" charset="0"/>
              </a:rPr>
              <a:t>Feedback / 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Shape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83DDC4EE-5A31-C60C-C973-E86061A64A82}"/>
              </a:ext>
            </a:extLst>
          </p:cNvPr>
          <p:cNvGrpSpPr/>
          <p:nvPr/>
        </p:nvGrpSpPr>
        <p:grpSpPr>
          <a:xfrm>
            <a:off x="3770189" y="4362680"/>
            <a:ext cx="2566766" cy="981812"/>
            <a:chOff x="3754725" y="4362680"/>
            <a:chExt cx="2566766" cy="981812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1646FC76-C089-DE98-5D13-41B7E7C23794}"/>
                </a:ext>
              </a:extLst>
            </p:cNvPr>
            <p:cNvSpPr/>
            <p:nvPr/>
          </p:nvSpPr>
          <p:spPr bwMode="gray">
            <a:xfrm>
              <a:off x="3754725" y="4362680"/>
              <a:ext cx="294410" cy="61013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 algn="l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 1</a:t>
              </a:r>
              <a:endParaRPr lang="de-DE" sz="8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033E9E68-9D4F-A220-C2AC-BED1DD48E9BA}"/>
                </a:ext>
              </a:extLst>
            </p:cNvPr>
            <p:cNvSpPr/>
            <p:nvPr/>
          </p:nvSpPr>
          <p:spPr bwMode="gray">
            <a:xfrm>
              <a:off x="4133451" y="4362681"/>
              <a:ext cx="294410" cy="61013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 2</a:t>
              </a: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B35F6B12-B82D-CC90-B46C-A248BB466CA0}"/>
                </a:ext>
              </a:extLst>
            </p:cNvPr>
            <p:cNvSpPr/>
            <p:nvPr/>
          </p:nvSpPr>
          <p:spPr bwMode="gray">
            <a:xfrm>
              <a:off x="4512177" y="4362681"/>
              <a:ext cx="294410" cy="61013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 3</a:t>
              </a: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4DEE2870-AD55-763F-6C96-AFF91BE6A04F}"/>
                </a:ext>
              </a:extLst>
            </p:cNvPr>
            <p:cNvSpPr/>
            <p:nvPr/>
          </p:nvSpPr>
          <p:spPr bwMode="gray">
            <a:xfrm>
              <a:off x="4890903" y="4362681"/>
              <a:ext cx="294410" cy="61013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…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654C36E1-AA0F-3612-0403-144F9D5CE1F7}"/>
                </a:ext>
              </a:extLst>
            </p:cNvPr>
            <p:cNvSpPr/>
            <p:nvPr/>
          </p:nvSpPr>
          <p:spPr bwMode="gray">
            <a:xfrm>
              <a:off x="5269629" y="4369251"/>
              <a:ext cx="294410" cy="61013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….</a:t>
              </a:r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10A41AD5-DA6C-164B-F53F-0F6573BBA923}"/>
                </a:ext>
              </a:extLst>
            </p:cNvPr>
            <p:cNvSpPr/>
            <p:nvPr/>
          </p:nvSpPr>
          <p:spPr bwMode="gray">
            <a:xfrm>
              <a:off x="3754725" y="5021656"/>
              <a:ext cx="1051862" cy="32283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lIns="216000" tIns="180000" rIns="216000" bIns="180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Industry Core</a:t>
              </a: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E0B3BD62-630C-F4E2-3A9C-B1095D799F83}"/>
                </a:ext>
              </a:extLst>
            </p:cNvPr>
            <p:cNvSpPr/>
            <p:nvPr/>
          </p:nvSpPr>
          <p:spPr bwMode="gray">
            <a:xfrm>
              <a:off x="5648355" y="4369251"/>
              <a:ext cx="294410" cy="972005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…</a:t>
              </a: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7E6E1A2E-27F7-D6EB-9A95-82F9D5E8AE93}"/>
                </a:ext>
              </a:extLst>
            </p:cNvPr>
            <p:cNvSpPr/>
            <p:nvPr/>
          </p:nvSpPr>
          <p:spPr bwMode="gray">
            <a:xfrm>
              <a:off x="6027081" y="4369251"/>
              <a:ext cx="294410" cy="972005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…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DA83086-B8F8-687A-B642-D9169F9DAC40}"/>
                </a:ext>
              </a:extLst>
            </p:cNvPr>
            <p:cNvSpPr/>
            <p:nvPr/>
          </p:nvSpPr>
          <p:spPr bwMode="gray">
            <a:xfrm>
              <a:off x="4890903" y="5021656"/>
              <a:ext cx="673136" cy="32283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lIns="216000" tIns="180000" rIns="216000" bIns="180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K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44895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2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173213b-d6e6-4077-93de-fac7afb8733c">
      <Terms xmlns="http://schemas.microsoft.com/office/infopath/2007/PartnerControls"/>
    </lcf76f155ced4ddcb4097134ff3c332f>
    <TaxCatchAll xmlns="067b8054-3481-4999-9b89-5a9a3729820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6932D3EDDA8143B32FA8AD5C5501B9" ma:contentTypeVersion="12" ma:contentTypeDescription="Create a new document." ma:contentTypeScope="" ma:versionID="45651102af3a6ada6a20a4688d50b674">
  <xsd:schema xmlns:xsd="http://www.w3.org/2001/XMLSchema" xmlns:xs="http://www.w3.org/2001/XMLSchema" xmlns:p="http://schemas.microsoft.com/office/2006/metadata/properties" xmlns:ns2="e173213b-d6e6-4077-93de-fac7afb8733c" xmlns:ns3="067b8054-3481-4999-9b89-5a9a3729820c" targetNamespace="http://schemas.microsoft.com/office/2006/metadata/properties" ma:root="true" ma:fieldsID="ee6f4aaf04d1e7f65d6882bd950b6e44" ns2:_="" ns3:_="">
    <xsd:import namespace="e173213b-d6e6-4077-93de-fac7afb8733c"/>
    <xsd:import namespace="067b8054-3481-4999-9b89-5a9a3729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73213b-d6e6-4077-93de-fac7afb873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51ef69f-b95c-4ae8-865a-c403d19ff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b8054-3481-4999-9b89-5a9a3729820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7ef3ca2-985a-45de-9c4c-1141e191c108}" ma:internalName="TaxCatchAll" ma:showField="CatchAllData" ma:web="067b8054-3481-4999-9b89-5a9a3729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C92D651-CF17-458D-BAB0-968B56BA4133}">
  <ds:schemaRefs>
    <ds:schemaRef ds:uri="067b8054-3481-4999-9b89-5a9a3729820c"/>
    <ds:schemaRef ds:uri="5a227215-964f-4a25-9d8e-8f9bac637ca9"/>
    <ds:schemaRef ds:uri="d7dd674e-4de6-433a-8f64-01f564a0183e"/>
    <ds:schemaRef ds:uri="e173213b-d6e6-4077-93de-fac7afb8733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2FF7FA1-5388-41BF-8FE9-A9A4A91139FC}">
  <ds:schemaRefs>
    <ds:schemaRef ds:uri="067b8054-3481-4999-9b89-5a9a3729820c"/>
    <ds:schemaRef ds:uri="e173213b-d6e6-4077-93de-fac7afb873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7F7475D-D88E-43AF-984A-75F02EC940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11203_2_Catena-X_PPT_Vorlage</Template>
  <TotalTime>0</TotalTime>
  <Words>220</Words>
  <Application>Microsoft Office PowerPoint</Application>
  <PresentationFormat>Custom</PresentationFormat>
  <Paragraphs>8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Manrope</vt:lpstr>
      <vt:lpstr>Catena-X PowerPoint Master</vt:lpstr>
      <vt:lpstr>Catena-X PowerPoint Master</vt:lpstr>
      <vt:lpstr>think-cell Foli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die Überschrift der Präsentation</dc:title>
  <dc:creator>Schilcher, Helen</dc:creator>
  <cp:lastModifiedBy>Werner Roman FRD FIEA</cp:lastModifiedBy>
  <cp:revision>11</cp:revision>
  <cp:lastPrinted>2023-09-25T09:17:58Z</cp:lastPrinted>
  <dcterms:created xsi:type="dcterms:W3CDTF">2021-12-08T08:40:32Z</dcterms:created>
  <dcterms:modified xsi:type="dcterms:W3CDTF">2024-06-06T19:4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294a1c8-9899-41e7-8f6e-8b1b3c79592a_Enabled">
    <vt:lpwstr>true</vt:lpwstr>
  </property>
  <property fmtid="{D5CDD505-2E9C-101B-9397-08002B2CF9AE}" pid="3" name="MSIP_Label_7294a1c8-9899-41e7-8f6e-8b1b3c79592a_Name">
    <vt:lpwstr>Internal sub2 (no marking)</vt:lpwstr>
  </property>
  <property fmtid="{D5CDD505-2E9C-101B-9397-08002B2CF9AE}" pid="4" name="MSIP_Label_7294a1c8-9899-41e7-8f6e-8b1b3c79592a_Method">
    <vt:lpwstr>Privileged</vt:lpwstr>
  </property>
  <property fmtid="{D5CDD505-2E9C-101B-9397-08002B2CF9AE}" pid="5" name="MSIP_Label_7294a1c8-9899-41e7-8f6e-8b1b3c79592a_SetDate">
    <vt:lpwstr>2022-10-12T17:25:59Z</vt:lpwstr>
  </property>
  <property fmtid="{D5CDD505-2E9C-101B-9397-08002B2CF9AE}" pid="6" name="MSIP_Label_7294a1c8-9899-41e7-8f6e-8b1b3c79592a_ActionId">
    <vt:lpwstr>8e3a4931-6d70-4069-9dee-2ffb7d7eda15</vt:lpwstr>
  </property>
  <property fmtid="{D5CDD505-2E9C-101B-9397-08002B2CF9AE}" pid="7" name="MSIP_Label_7294a1c8-9899-41e7-8f6e-8b1b3c79592a_ContentBits">
    <vt:lpwstr>0</vt:lpwstr>
  </property>
  <property fmtid="{D5CDD505-2E9C-101B-9397-08002B2CF9AE}" pid="8" name="MSIP_Label_7294a1c8-9899-41e7-8f6e-8b1b3c79592a_SiteId">
    <vt:lpwstr>eb70b763-b6d7-4486-8555-8831709a784e</vt:lpwstr>
  </property>
  <property fmtid="{D5CDD505-2E9C-101B-9397-08002B2CF9AE}" pid="9" name="ContentTypeId">
    <vt:lpwstr>0x0101000B6932D3EDDA8143B32FA8AD5C5501B9</vt:lpwstr>
  </property>
  <property fmtid="{D5CDD505-2E9C-101B-9397-08002B2CF9AE}" pid="10" name="MediaServiceImageTags">
    <vt:lpwstr/>
  </property>
</Properties>
</file>